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9" r:id="rId1"/>
  </p:sldMasterIdLst>
  <p:notesMasterIdLst>
    <p:notesMasterId r:id="rId8"/>
  </p:notesMasterIdLst>
  <p:sldIdLst>
    <p:sldId id="256" r:id="rId2"/>
    <p:sldId id="262" r:id="rId3"/>
    <p:sldId id="266" r:id="rId4"/>
    <p:sldId id="275" r:id="rId5"/>
    <p:sldId id="269" r:id="rId6"/>
    <p:sldId id="268" r:id="rId7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9"/>
      <p:bold r:id="rId10"/>
      <p:italic r:id="rId11"/>
      <p:boldItalic r:id="rId12"/>
    </p:embeddedFont>
    <p:embeddedFont>
      <p:font typeface="Lilita One" panose="020B0604020202020204" charset="0"/>
      <p:regular r:id="rId13"/>
    </p:embeddedFont>
    <p:embeddedFont>
      <p:font typeface="Josefin Sans" panose="020B0604020202020204" charset="0"/>
      <p:regular r:id="rId14"/>
      <p:bold r:id="rId15"/>
      <p:italic r:id="rId16"/>
      <p:boldItalic r:id="rId17"/>
    </p:embeddedFont>
  </p:embeddedFontLst>
  <p:custDataLst>
    <p:tags r:id="rId1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9819989-ACCF-466A-969C-3358E18E9E2C}">
  <a:tblStyle styleId="{49819989-ACCF-466A-969C-3358E18E9E2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5" d="100"/>
          <a:sy n="85" d="100"/>
        </p:scale>
        <p:origin x="74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5.fntdata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10" Type="http://schemas.openxmlformats.org/officeDocument/2006/relationships/font" Target="fonts/font2.fntdata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8" name="Google Shape;858;g70bd74dec0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59" name="Google Shape;859;g70bd74dec0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4" name="Google Shape;1654;g6b373fa0a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55" name="Google Shape;1655;g6b373fa0a7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4" name="Google Shape;2114;g70bd74dec0_0_7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5" name="Google Shape;2115;g70bd74dec0_0_7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8" name="Google Shape;2588;g70bd74dec0_0_7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89" name="Google Shape;2589;g70bd74dec0_0_7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9" name="Google Shape;2349;g6b4b2e228f_0_10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0" name="Google Shape;2350;g6b4b2e228f_0_10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" name="Google Shape;2283;g6b11a8b499_0_160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84" name="Google Shape;2284;g6b11a8b499_0_160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/>
          <p:nvPr/>
        </p:nvSpPr>
        <p:spPr>
          <a:xfrm>
            <a:off x="-731" y="4672701"/>
            <a:ext cx="9143833" cy="475558"/>
          </a:xfrm>
          <a:custGeom>
            <a:avLst/>
            <a:gdLst/>
            <a:ahLst/>
            <a:cxnLst/>
            <a:rect l="l" t="t" r="r" b="b"/>
            <a:pathLst>
              <a:path w="285299" h="14838" extrusionOk="0">
                <a:moveTo>
                  <a:pt x="0" y="1"/>
                </a:moveTo>
                <a:lnTo>
                  <a:pt x="0" y="14838"/>
                </a:lnTo>
                <a:lnTo>
                  <a:pt x="285299" y="14838"/>
                </a:lnTo>
                <a:lnTo>
                  <a:pt x="285299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720000" y="860400"/>
            <a:ext cx="3345000" cy="2064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720000" y="2824325"/>
            <a:ext cx="3345000" cy="707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x columns">
  <p:cSld name="CUSTOM_18">
    <p:spTree>
      <p:nvGrpSpPr>
        <p:cNvPr id="1" name="Shape 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Google Shape;525;p21"/>
          <p:cNvSpPr txBox="1">
            <a:spLocks noGrp="1"/>
          </p:cNvSpPr>
          <p:nvPr>
            <p:ph type="title"/>
          </p:nvPr>
        </p:nvSpPr>
        <p:spPr>
          <a:xfrm>
            <a:off x="720000" y="540000"/>
            <a:ext cx="7704000" cy="32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700"/>
              <a:buNone/>
              <a:defRPr sz="27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26" name="Google Shape;526;p21"/>
          <p:cNvSpPr/>
          <p:nvPr/>
        </p:nvSpPr>
        <p:spPr>
          <a:xfrm>
            <a:off x="-731" y="4672701"/>
            <a:ext cx="9143833" cy="475558"/>
          </a:xfrm>
          <a:custGeom>
            <a:avLst/>
            <a:gdLst/>
            <a:ahLst/>
            <a:cxnLst/>
            <a:rect l="l" t="t" r="r" b="b"/>
            <a:pathLst>
              <a:path w="285299" h="14838" extrusionOk="0">
                <a:moveTo>
                  <a:pt x="0" y="1"/>
                </a:moveTo>
                <a:lnTo>
                  <a:pt x="0" y="14838"/>
                </a:lnTo>
                <a:lnTo>
                  <a:pt x="285299" y="14838"/>
                </a:lnTo>
                <a:lnTo>
                  <a:pt x="285299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7" name="Google Shape;527;p21"/>
          <p:cNvSpPr txBox="1">
            <a:spLocks noGrp="1"/>
          </p:cNvSpPr>
          <p:nvPr>
            <p:ph type="subTitle" idx="1"/>
          </p:nvPr>
        </p:nvSpPr>
        <p:spPr>
          <a:xfrm>
            <a:off x="3581110" y="2070913"/>
            <a:ext cx="19770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6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28" name="Google Shape;528;p21"/>
          <p:cNvSpPr txBox="1">
            <a:spLocks noGrp="1"/>
          </p:cNvSpPr>
          <p:nvPr>
            <p:ph type="subTitle" idx="2"/>
          </p:nvPr>
        </p:nvSpPr>
        <p:spPr>
          <a:xfrm>
            <a:off x="3581110" y="2342499"/>
            <a:ext cx="19770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29" name="Google Shape;529;p21"/>
          <p:cNvSpPr txBox="1">
            <a:spLocks noGrp="1"/>
          </p:cNvSpPr>
          <p:nvPr>
            <p:ph type="subTitle" idx="3"/>
          </p:nvPr>
        </p:nvSpPr>
        <p:spPr>
          <a:xfrm>
            <a:off x="3581110" y="3763376"/>
            <a:ext cx="19770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6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30" name="Google Shape;530;p21"/>
          <p:cNvSpPr txBox="1">
            <a:spLocks noGrp="1"/>
          </p:cNvSpPr>
          <p:nvPr>
            <p:ph type="subTitle" idx="4"/>
          </p:nvPr>
        </p:nvSpPr>
        <p:spPr>
          <a:xfrm>
            <a:off x="3581110" y="4037476"/>
            <a:ext cx="19770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31" name="Google Shape;531;p21"/>
          <p:cNvSpPr txBox="1">
            <a:spLocks noGrp="1"/>
          </p:cNvSpPr>
          <p:nvPr>
            <p:ph type="subTitle" idx="5"/>
          </p:nvPr>
        </p:nvSpPr>
        <p:spPr>
          <a:xfrm>
            <a:off x="5848989" y="2070913"/>
            <a:ext cx="19830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6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32" name="Google Shape;532;p21"/>
          <p:cNvSpPr txBox="1">
            <a:spLocks noGrp="1"/>
          </p:cNvSpPr>
          <p:nvPr>
            <p:ph type="subTitle" idx="6"/>
          </p:nvPr>
        </p:nvSpPr>
        <p:spPr>
          <a:xfrm>
            <a:off x="5848989" y="2347514"/>
            <a:ext cx="19830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33" name="Google Shape;533;p21"/>
          <p:cNvSpPr txBox="1">
            <a:spLocks noGrp="1"/>
          </p:cNvSpPr>
          <p:nvPr>
            <p:ph type="subTitle" idx="7"/>
          </p:nvPr>
        </p:nvSpPr>
        <p:spPr>
          <a:xfrm>
            <a:off x="1312012" y="2070913"/>
            <a:ext cx="19800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6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34" name="Google Shape;534;p21"/>
          <p:cNvSpPr txBox="1">
            <a:spLocks noGrp="1"/>
          </p:cNvSpPr>
          <p:nvPr>
            <p:ph type="subTitle" idx="8"/>
          </p:nvPr>
        </p:nvSpPr>
        <p:spPr>
          <a:xfrm>
            <a:off x="1312012" y="2342499"/>
            <a:ext cx="19800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35" name="Google Shape;535;p21"/>
          <p:cNvSpPr txBox="1">
            <a:spLocks noGrp="1"/>
          </p:cNvSpPr>
          <p:nvPr>
            <p:ph type="subTitle" idx="9"/>
          </p:nvPr>
        </p:nvSpPr>
        <p:spPr>
          <a:xfrm>
            <a:off x="1312012" y="3763376"/>
            <a:ext cx="19800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6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36" name="Google Shape;536;p21"/>
          <p:cNvSpPr txBox="1">
            <a:spLocks noGrp="1"/>
          </p:cNvSpPr>
          <p:nvPr>
            <p:ph type="subTitle" idx="13"/>
          </p:nvPr>
        </p:nvSpPr>
        <p:spPr>
          <a:xfrm>
            <a:off x="1312012" y="4037476"/>
            <a:ext cx="19800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37" name="Google Shape;537;p21"/>
          <p:cNvSpPr txBox="1">
            <a:spLocks noGrp="1"/>
          </p:cNvSpPr>
          <p:nvPr>
            <p:ph type="subTitle" idx="14"/>
          </p:nvPr>
        </p:nvSpPr>
        <p:spPr>
          <a:xfrm>
            <a:off x="5848989" y="3763374"/>
            <a:ext cx="19830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6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38" name="Google Shape;538;p21"/>
          <p:cNvSpPr txBox="1">
            <a:spLocks noGrp="1"/>
          </p:cNvSpPr>
          <p:nvPr>
            <p:ph type="subTitle" idx="15"/>
          </p:nvPr>
        </p:nvSpPr>
        <p:spPr>
          <a:xfrm>
            <a:off x="5848989" y="4039975"/>
            <a:ext cx="19830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olumns 2">
  <p:cSld name="CUSTOM_10"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p25"/>
          <p:cNvSpPr/>
          <p:nvPr/>
        </p:nvSpPr>
        <p:spPr>
          <a:xfrm>
            <a:off x="-731" y="4672701"/>
            <a:ext cx="9143833" cy="475558"/>
          </a:xfrm>
          <a:custGeom>
            <a:avLst/>
            <a:gdLst/>
            <a:ahLst/>
            <a:cxnLst/>
            <a:rect l="l" t="t" r="r" b="b"/>
            <a:pathLst>
              <a:path w="285299" h="14838" extrusionOk="0">
                <a:moveTo>
                  <a:pt x="0" y="1"/>
                </a:moveTo>
                <a:lnTo>
                  <a:pt x="0" y="14838"/>
                </a:lnTo>
                <a:lnTo>
                  <a:pt x="285299" y="14838"/>
                </a:lnTo>
                <a:lnTo>
                  <a:pt x="285299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85" name="Google Shape;685;p25"/>
          <p:cNvGrpSpPr/>
          <p:nvPr/>
        </p:nvGrpSpPr>
        <p:grpSpPr>
          <a:xfrm>
            <a:off x="6510149" y="1965913"/>
            <a:ext cx="2172605" cy="2709763"/>
            <a:chOff x="6510149" y="1949738"/>
            <a:chExt cx="2172605" cy="2709763"/>
          </a:xfrm>
        </p:grpSpPr>
        <p:sp>
          <p:nvSpPr>
            <p:cNvPr id="686" name="Google Shape;686;p25"/>
            <p:cNvSpPr/>
            <p:nvPr/>
          </p:nvSpPr>
          <p:spPr>
            <a:xfrm>
              <a:off x="6510149" y="4267946"/>
              <a:ext cx="120540" cy="388831"/>
            </a:xfrm>
            <a:custGeom>
              <a:avLst/>
              <a:gdLst/>
              <a:ahLst/>
              <a:cxnLst/>
              <a:rect l="l" t="t" r="r" b="b"/>
              <a:pathLst>
                <a:path w="3761" h="12132" extrusionOk="0">
                  <a:moveTo>
                    <a:pt x="3760" y="1"/>
                  </a:moveTo>
                  <a:lnTo>
                    <a:pt x="1" y="135"/>
                  </a:lnTo>
                  <a:lnTo>
                    <a:pt x="1" y="12131"/>
                  </a:lnTo>
                  <a:lnTo>
                    <a:pt x="1605" y="12131"/>
                  </a:lnTo>
                  <a:lnTo>
                    <a:pt x="376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7" name="Google Shape;687;p25"/>
            <p:cNvSpPr/>
            <p:nvPr/>
          </p:nvSpPr>
          <p:spPr>
            <a:xfrm>
              <a:off x="7592958" y="2586860"/>
              <a:ext cx="93201" cy="30960"/>
            </a:xfrm>
            <a:custGeom>
              <a:avLst/>
              <a:gdLst/>
              <a:ahLst/>
              <a:cxnLst/>
              <a:rect l="l" t="t" r="r" b="b"/>
              <a:pathLst>
                <a:path w="2908" h="966" extrusionOk="0">
                  <a:moveTo>
                    <a:pt x="2875" y="1"/>
                  </a:moveTo>
                  <a:cubicBezTo>
                    <a:pt x="2771" y="1"/>
                    <a:pt x="2159" y="176"/>
                    <a:pt x="1421" y="423"/>
                  </a:cubicBezTo>
                  <a:cubicBezTo>
                    <a:pt x="635" y="690"/>
                    <a:pt x="0" y="924"/>
                    <a:pt x="0" y="957"/>
                  </a:cubicBezTo>
                  <a:cubicBezTo>
                    <a:pt x="2" y="963"/>
                    <a:pt x="12" y="966"/>
                    <a:pt x="29" y="966"/>
                  </a:cubicBezTo>
                  <a:cubicBezTo>
                    <a:pt x="164" y="966"/>
                    <a:pt x="758" y="794"/>
                    <a:pt x="1471" y="556"/>
                  </a:cubicBezTo>
                  <a:cubicBezTo>
                    <a:pt x="2273" y="289"/>
                    <a:pt x="2908" y="38"/>
                    <a:pt x="2891" y="5"/>
                  </a:cubicBezTo>
                  <a:cubicBezTo>
                    <a:pt x="2890" y="2"/>
                    <a:pt x="2884" y="1"/>
                    <a:pt x="2875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8" name="Google Shape;688;p25"/>
            <p:cNvSpPr/>
            <p:nvPr/>
          </p:nvSpPr>
          <p:spPr>
            <a:xfrm>
              <a:off x="6977662" y="4267946"/>
              <a:ext cx="119963" cy="388831"/>
            </a:xfrm>
            <a:custGeom>
              <a:avLst/>
              <a:gdLst/>
              <a:ahLst/>
              <a:cxnLst/>
              <a:rect l="l" t="t" r="r" b="b"/>
              <a:pathLst>
                <a:path w="3743" h="12132" extrusionOk="0">
                  <a:moveTo>
                    <a:pt x="3743" y="1"/>
                  </a:moveTo>
                  <a:lnTo>
                    <a:pt x="0" y="135"/>
                  </a:lnTo>
                  <a:lnTo>
                    <a:pt x="0" y="12131"/>
                  </a:lnTo>
                  <a:lnTo>
                    <a:pt x="1604" y="12131"/>
                  </a:lnTo>
                  <a:lnTo>
                    <a:pt x="374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9" name="Google Shape;689;p25"/>
            <p:cNvSpPr/>
            <p:nvPr/>
          </p:nvSpPr>
          <p:spPr>
            <a:xfrm>
              <a:off x="7441394" y="4267946"/>
              <a:ext cx="120540" cy="388831"/>
            </a:xfrm>
            <a:custGeom>
              <a:avLst/>
              <a:gdLst/>
              <a:ahLst/>
              <a:cxnLst/>
              <a:rect l="l" t="t" r="r" b="b"/>
              <a:pathLst>
                <a:path w="3761" h="12132" extrusionOk="0">
                  <a:moveTo>
                    <a:pt x="1" y="1"/>
                  </a:moveTo>
                  <a:lnTo>
                    <a:pt x="2156" y="12131"/>
                  </a:lnTo>
                  <a:lnTo>
                    <a:pt x="3760" y="12131"/>
                  </a:lnTo>
                  <a:lnTo>
                    <a:pt x="3760" y="13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0" name="Google Shape;690;p25"/>
            <p:cNvSpPr/>
            <p:nvPr/>
          </p:nvSpPr>
          <p:spPr>
            <a:xfrm>
              <a:off x="7769682" y="4267946"/>
              <a:ext cx="120508" cy="388831"/>
            </a:xfrm>
            <a:custGeom>
              <a:avLst/>
              <a:gdLst/>
              <a:ahLst/>
              <a:cxnLst/>
              <a:rect l="l" t="t" r="r" b="b"/>
              <a:pathLst>
                <a:path w="3760" h="12132" extrusionOk="0">
                  <a:moveTo>
                    <a:pt x="0" y="1"/>
                  </a:moveTo>
                  <a:lnTo>
                    <a:pt x="2156" y="12131"/>
                  </a:lnTo>
                  <a:lnTo>
                    <a:pt x="3760" y="12131"/>
                  </a:lnTo>
                  <a:lnTo>
                    <a:pt x="3760" y="13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1" name="Google Shape;691;p25"/>
            <p:cNvSpPr/>
            <p:nvPr/>
          </p:nvSpPr>
          <p:spPr>
            <a:xfrm>
              <a:off x="6510149" y="3406827"/>
              <a:ext cx="375979" cy="873907"/>
            </a:xfrm>
            <a:custGeom>
              <a:avLst/>
              <a:gdLst/>
              <a:ahLst/>
              <a:cxnLst/>
              <a:rect l="l" t="t" r="r" b="b"/>
              <a:pathLst>
                <a:path w="11731" h="27267" extrusionOk="0">
                  <a:moveTo>
                    <a:pt x="5548" y="0"/>
                  </a:moveTo>
                  <a:cubicBezTo>
                    <a:pt x="4075" y="0"/>
                    <a:pt x="2636" y="293"/>
                    <a:pt x="1939" y="1271"/>
                  </a:cubicBezTo>
                  <a:cubicBezTo>
                    <a:pt x="184" y="3711"/>
                    <a:pt x="1" y="27170"/>
                    <a:pt x="1" y="27170"/>
                  </a:cubicBezTo>
                  <a:cubicBezTo>
                    <a:pt x="1" y="27170"/>
                    <a:pt x="5028" y="27266"/>
                    <a:pt x="8439" y="27266"/>
                  </a:cubicBezTo>
                  <a:cubicBezTo>
                    <a:pt x="10145" y="27266"/>
                    <a:pt x="11446" y="27242"/>
                    <a:pt x="11513" y="27170"/>
                  </a:cubicBezTo>
                  <a:cubicBezTo>
                    <a:pt x="11730" y="26969"/>
                    <a:pt x="10026" y="653"/>
                    <a:pt x="10026" y="653"/>
                  </a:cubicBezTo>
                  <a:cubicBezTo>
                    <a:pt x="10026" y="653"/>
                    <a:pt x="7748" y="0"/>
                    <a:pt x="554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2" name="Google Shape;692;p25"/>
            <p:cNvSpPr/>
            <p:nvPr/>
          </p:nvSpPr>
          <p:spPr>
            <a:xfrm>
              <a:off x="6804144" y="2531830"/>
              <a:ext cx="1086046" cy="1608718"/>
            </a:xfrm>
            <a:custGeom>
              <a:avLst/>
              <a:gdLst/>
              <a:ahLst/>
              <a:cxnLst/>
              <a:rect l="l" t="t" r="r" b="b"/>
              <a:pathLst>
                <a:path w="33886" h="50194" extrusionOk="0">
                  <a:moveTo>
                    <a:pt x="24423" y="1"/>
                  </a:moveTo>
                  <a:cubicBezTo>
                    <a:pt x="24403" y="1"/>
                    <a:pt x="24382" y="1"/>
                    <a:pt x="24362" y="1"/>
                  </a:cubicBezTo>
                  <a:lnTo>
                    <a:pt x="9424" y="1"/>
                  </a:lnTo>
                  <a:cubicBezTo>
                    <a:pt x="4195" y="1"/>
                    <a:pt x="1" y="4295"/>
                    <a:pt x="118" y="9525"/>
                  </a:cubicBezTo>
                  <a:lnTo>
                    <a:pt x="1070" y="50193"/>
                  </a:lnTo>
                  <a:lnTo>
                    <a:pt x="33568" y="50193"/>
                  </a:lnTo>
                  <a:lnTo>
                    <a:pt x="33836" y="9491"/>
                  </a:lnTo>
                  <a:cubicBezTo>
                    <a:pt x="33885" y="4265"/>
                    <a:pt x="29658" y="1"/>
                    <a:pt x="24423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3" name="Google Shape;693;p25"/>
            <p:cNvSpPr/>
            <p:nvPr/>
          </p:nvSpPr>
          <p:spPr>
            <a:xfrm>
              <a:off x="6572262" y="3855335"/>
              <a:ext cx="1307768" cy="420143"/>
            </a:xfrm>
            <a:custGeom>
              <a:avLst/>
              <a:gdLst/>
              <a:ahLst/>
              <a:cxnLst/>
              <a:rect l="l" t="t" r="r" b="b"/>
              <a:pathLst>
                <a:path w="40804" h="13109" extrusionOk="0">
                  <a:moveTo>
                    <a:pt x="19728" y="0"/>
                  </a:moveTo>
                  <a:cubicBezTo>
                    <a:pt x="13401" y="0"/>
                    <a:pt x="6918" y="126"/>
                    <a:pt x="6918" y="126"/>
                  </a:cubicBezTo>
                  <a:cubicBezTo>
                    <a:pt x="6918" y="126"/>
                    <a:pt x="452" y="377"/>
                    <a:pt x="1" y="8380"/>
                  </a:cubicBezTo>
                  <a:lnTo>
                    <a:pt x="1" y="13109"/>
                  </a:lnTo>
                  <a:lnTo>
                    <a:pt x="40803" y="13109"/>
                  </a:lnTo>
                  <a:lnTo>
                    <a:pt x="40803" y="8898"/>
                  </a:lnTo>
                  <a:cubicBezTo>
                    <a:pt x="40803" y="8898"/>
                    <a:pt x="35039" y="410"/>
                    <a:pt x="28272" y="126"/>
                  </a:cubicBezTo>
                  <a:cubicBezTo>
                    <a:pt x="26016" y="32"/>
                    <a:pt x="22892" y="0"/>
                    <a:pt x="19728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4" name="Google Shape;694;p25"/>
            <p:cNvSpPr/>
            <p:nvPr/>
          </p:nvSpPr>
          <p:spPr>
            <a:xfrm>
              <a:off x="6554057" y="3855014"/>
              <a:ext cx="907207" cy="413125"/>
            </a:xfrm>
            <a:custGeom>
              <a:avLst/>
              <a:gdLst/>
              <a:ahLst/>
              <a:cxnLst/>
              <a:rect l="l" t="t" r="r" b="b"/>
              <a:pathLst>
                <a:path w="28306" h="12890" extrusionOk="0">
                  <a:moveTo>
                    <a:pt x="9133" y="0"/>
                  </a:moveTo>
                  <a:cubicBezTo>
                    <a:pt x="7145" y="0"/>
                    <a:pt x="5217" y="133"/>
                    <a:pt x="3543" y="1423"/>
                  </a:cubicBezTo>
                  <a:cubicBezTo>
                    <a:pt x="385" y="3896"/>
                    <a:pt x="1" y="9059"/>
                    <a:pt x="335" y="12751"/>
                  </a:cubicBezTo>
                  <a:cubicBezTo>
                    <a:pt x="343" y="12843"/>
                    <a:pt x="414" y="12889"/>
                    <a:pt x="483" y="12889"/>
                  </a:cubicBezTo>
                  <a:cubicBezTo>
                    <a:pt x="552" y="12889"/>
                    <a:pt x="619" y="12843"/>
                    <a:pt x="619" y="12751"/>
                  </a:cubicBezTo>
                  <a:cubicBezTo>
                    <a:pt x="218" y="8357"/>
                    <a:pt x="953" y="1958"/>
                    <a:pt x="5932" y="554"/>
                  </a:cubicBezTo>
                  <a:cubicBezTo>
                    <a:pt x="6831" y="299"/>
                    <a:pt x="7809" y="238"/>
                    <a:pt x="8789" y="238"/>
                  </a:cubicBezTo>
                  <a:cubicBezTo>
                    <a:pt x="9668" y="238"/>
                    <a:pt x="10550" y="287"/>
                    <a:pt x="11379" y="287"/>
                  </a:cubicBezTo>
                  <a:lnTo>
                    <a:pt x="28121" y="387"/>
                  </a:lnTo>
                  <a:cubicBezTo>
                    <a:pt x="28305" y="370"/>
                    <a:pt x="28305" y="103"/>
                    <a:pt x="28121" y="103"/>
                  </a:cubicBezTo>
                  <a:cubicBezTo>
                    <a:pt x="21973" y="70"/>
                    <a:pt x="15807" y="36"/>
                    <a:pt x="9658" y="3"/>
                  </a:cubicBezTo>
                  <a:cubicBezTo>
                    <a:pt x="9483" y="1"/>
                    <a:pt x="9308" y="0"/>
                    <a:pt x="9133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5" name="Google Shape;695;p25"/>
            <p:cNvSpPr/>
            <p:nvPr/>
          </p:nvSpPr>
          <p:spPr>
            <a:xfrm>
              <a:off x="6955708" y="2557534"/>
              <a:ext cx="706895" cy="844005"/>
            </a:xfrm>
            <a:custGeom>
              <a:avLst/>
              <a:gdLst/>
              <a:ahLst/>
              <a:cxnLst/>
              <a:rect l="l" t="t" r="r" b="b"/>
              <a:pathLst>
                <a:path w="22056" h="26334" extrusionOk="0">
                  <a:moveTo>
                    <a:pt x="6416" y="1"/>
                  </a:moveTo>
                  <a:cubicBezTo>
                    <a:pt x="4428" y="18"/>
                    <a:pt x="2807" y="68"/>
                    <a:pt x="1705" y="168"/>
                  </a:cubicBezTo>
                  <a:cubicBezTo>
                    <a:pt x="1420" y="201"/>
                    <a:pt x="1187" y="235"/>
                    <a:pt x="969" y="252"/>
                  </a:cubicBezTo>
                  <a:cubicBezTo>
                    <a:pt x="752" y="285"/>
                    <a:pt x="568" y="318"/>
                    <a:pt x="435" y="335"/>
                  </a:cubicBezTo>
                  <a:cubicBezTo>
                    <a:pt x="284" y="369"/>
                    <a:pt x="134" y="419"/>
                    <a:pt x="0" y="469"/>
                  </a:cubicBezTo>
                  <a:cubicBezTo>
                    <a:pt x="34" y="469"/>
                    <a:pt x="67" y="452"/>
                    <a:pt x="117" y="452"/>
                  </a:cubicBezTo>
                  <a:cubicBezTo>
                    <a:pt x="184" y="435"/>
                    <a:pt x="284" y="402"/>
                    <a:pt x="435" y="369"/>
                  </a:cubicBezTo>
                  <a:lnTo>
                    <a:pt x="969" y="302"/>
                  </a:lnTo>
                  <a:cubicBezTo>
                    <a:pt x="1187" y="285"/>
                    <a:pt x="1420" y="252"/>
                    <a:pt x="1705" y="235"/>
                  </a:cubicBezTo>
                  <a:cubicBezTo>
                    <a:pt x="2679" y="162"/>
                    <a:pt x="4022" y="115"/>
                    <a:pt x="5665" y="115"/>
                  </a:cubicBezTo>
                  <a:cubicBezTo>
                    <a:pt x="5909" y="115"/>
                    <a:pt x="6159" y="116"/>
                    <a:pt x="6416" y="118"/>
                  </a:cubicBezTo>
                  <a:cubicBezTo>
                    <a:pt x="7419" y="118"/>
                    <a:pt x="8505" y="118"/>
                    <a:pt x="9674" y="151"/>
                  </a:cubicBezTo>
                  <a:cubicBezTo>
                    <a:pt x="10844" y="185"/>
                    <a:pt x="12097" y="151"/>
                    <a:pt x="13401" y="335"/>
                  </a:cubicBezTo>
                  <a:cubicBezTo>
                    <a:pt x="14069" y="402"/>
                    <a:pt x="14737" y="536"/>
                    <a:pt x="15389" y="686"/>
                  </a:cubicBezTo>
                  <a:cubicBezTo>
                    <a:pt x="16074" y="853"/>
                    <a:pt x="16726" y="1087"/>
                    <a:pt x="17360" y="1388"/>
                  </a:cubicBezTo>
                  <a:cubicBezTo>
                    <a:pt x="17995" y="1739"/>
                    <a:pt x="18563" y="2173"/>
                    <a:pt x="19081" y="2691"/>
                  </a:cubicBezTo>
                  <a:cubicBezTo>
                    <a:pt x="19616" y="3209"/>
                    <a:pt x="20067" y="3810"/>
                    <a:pt x="20418" y="4462"/>
                  </a:cubicBezTo>
                  <a:cubicBezTo>
                    <a:pt x="20585" y="4796"/>
                    <a:pt x="20719" y="5147"/>
                    <a:pt x="20819" y="5498"/>
                  </a:cubicBezTo>
                  <a:cubicBezTo>
                    <a:pt x="20903" y="5866"/>
                    <a:pt x="20953" y="6233"/>
                    <a:pt x="20986" y="6601"/>
                  </a:cubicBezTo>
                  <a:cubicBezTo>
                    <a:pt x="21070" y="7336"/>
                    <a:pt x="21153" y="8054"/>
                    <a:pt x="21220" y="8773"/>
                  </a:cubicBezTo>
                  <a:cubicBezTo>
                    <a:pt x="21354" y="10193"/>
                    <a:pt x="21454" y="11580"/>
                    <a:pt x="21554" y="12883"/>
                  </a:cubicBezTo>
                  <a:cubicBezTo>
                    <a:pt x="21721" y="15523"/>
                    <a:pt x="21805" y="17896"/>
                    <a:pt x="21872" y="19884"/>
                  </a:cubicBezTo>
                  <a:cubicBezTo>
                    <a:pt x="21922" y="21872"/>
                    <a:pt x="21955" y="23476"/>
                    <a:pt x="21989" y="24596"/>
                  </a:cubicBezTo>
                  <a:cubicBezTo>
                    <a:pt x="22005" y="25147"/>
                    <a:pt x="22022" y="25582"/>
                    <a:pt x="22022" y="25882"/>
                  </a:cubicBezTo>
                  <a:cubicBezTo>
                    <a:pt x="22039" y="26016"/>
                    <a:pt x="22039" y="26133"/>
                    <a:pt x="22039" y="26217"/>
                  </a:cubicBezTo>
                  <a:cubicBezTo>
                    <a:pt x="22039" y="26250"/>
                    <a:pt x="22039" y="26283"/>
                    <a:pt x="22056" y="26334"/>
                  </a:cubicBezTo>
                  <a:cubicBezTo>
                    <a:pt x="22056" y="26283"/>
                    <a:pt x="22056" y="26250"/>
                    <a:pt x="22056" y="26217"/>
                  </a:cubicBezTo>
                  <a:cubicBezTo>
                    <a:pt x="22056" y="26133"/>
                    <a:pt x="22056" y="26016"/>
                    <a:pt x="22056" y="25882"/>
                  </a:cubicBezTo>
                  <a:cubicBezTo>
                    <a:pt x="22056" y="25582"/>
                    <a:pt x="22056" y="25147"/>
                    <a:pt x="22039" y="24596"/>
                  </a:cubicBezTo>
                  <a:cubicBezTo>
                    <a:pt x="22039" y="23476"/>
                    <a:pt x="22022" y="21872"/>
                    <a:pt x="21972" y="19867"/>
                  </a:cubicBezTo>
                  <a:cubicBezTo>
                    <a:pt x="21922" y="17879"/>
                    <a:pt x="21838" y="15506"/>
                    <a:pt x="21688" y="12883"/>
                  </a:cubicBezTo>
                  <a:cubicBezTo>
                    <a:pt x="21604" y="11563"/>
                    <a:pt x="21487" y="10176"/>
                    <a:pt x="21354" y="8756"/>
                  </a:cubicBezTo>
                  <a:cubicBezTo>
                    <a:pt x="21287" y="8038"/>
                    <a:pt x="21220" y="7319"/>
                    <a:pt x="21120" y="6584"/>
                  </a:cubicBezTo>
                  <a:cubicBezTo>
                    <a:pt x="21103" y="6200"/>
                    <a:pt x="21036" y="5832"/>
                    <a:pt x="20953" y="5465"/>
                  </a:cubicBezTo>
                  <a:cubicBezTo>
                    <a:pt x="20853" y="5097"/>
                    <a:pt x="20719" y="4729"/>
                    <a:pt x="20535" y="4395"/>
                  </a:cubicBezTo>
                  <a:cubicBezTo>
                    <a:pt x="20184" y="3727"/>
                    <a:pt x="19716" y="3109"/>
                    <a:pt x="19182" y="2591"/>
                  </a:cubicBezTo>
                  <a:cubicBezTo>
                    <a:pt x="18664" y="2056"/>
                    <a:pt x="18062" y="1622"/>
                    <a:pt x="17427" y="1271"/>
                  </a:cubicBezTo>
                  <a:cubicBezTo>
                    <a:pt x="16776" y="953"/>
                    <a:pt x="16107" y="719"/>
                    <a:pt x="15422" y="552"/>
                  </a:cubicBezTo>
                  <a:cubicBezTo>
                    <a:pt x="14771" y="402"/>
                    <a:pt x="14102" y="268"/>
                    <a:pt x="13417" y="201"/>
                  </a:cubicBezTo>
                  <a:cubicBezTo>
                    <a:pt x="12114" y="18"/>
                    <a:pt x="10844" y="51"/>
                    <a:pt x="9674" y="18"/>
                  </a:cubicBezTo>
                  <a:cubicBezTo>
                    <a:pt x="8505" y="1"/>
                    <a:pt x="7419" y="1"/>
                    <a:pt x="641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6" name="Google Shape;696;p25"/>
            <p:cNvSpPr/>
            <p:nvPr/>
          </p:nvSpPr>
          <p:spPr>
            <a:xfrm>
              <a:off x="7646514" y="2915500"/>
              <a:ext cx="74997" cy="26313"/>
            </a:xfrm>
            <a:custGeom>
              <a:avLst/>
              <a:gdLst/>
              <a:ahLst/>
              <a:cxnLst/>
              <a:rect l="l" t="t" r="r" b="b"/>
              <a:pathLst>
                <a:path w="2340" h="821" extrusionOk="0">
                  <a:moveTo>
                    <a:pt x="2311" y="1"/>
                  </a:moveTo>
                  <a:cubicBezTo>
                    <a:pt x="2192" y="1"/>
                    <a:pt x="1711" y="153"/>
                    <a:pt x="1153" y="344"/>
                  </a:cubicBezTo>
                  <a:cubicBezTo>
                    <a:pt x="502" y="561"/>
                    <a:pt x="0" y="779"/>
                    <a:pt x="17" y="812"/>
                  </a:cubicBezTo>
                  <a:cubicBezTo>
                    <a:pt x="19" y="818"/>
                    <a:pt x="28" y="821"/>
                    <a:pt x="44" y="821"/>
                  </a:cubicBezTo>
                  <a:cubicBezTo>
                    <a:pt x="161" y="821"/>
                    <a:pt x="631" y="669"/>
                    <a:pt x="1203" y="478"/>
                  </a:cubicBezTo>
                  <a:cubicBezTo>
                    <a:pt x="1838" y="261"/>
                    <a:pt x="2339" y="43"/>
                    <a:pt x="2339" y="10"/>
                  </a:cubicBezTo>
                  <a:cubicBezTo>
                    <a:pt x="2337" y="4"/>
                    <a:pt x="2328" y="1"/>
                    <a:pt x="231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7" name="Google Shape;697;p25"/>
            <p:cNvSpPr/>
            <p:nvPr/>
          </p:nvSpPr>
          <p:spPr>
            <a:xfrm>
              <a:off x="7647059" y="2987356"/>
              <a:ext cx="33749" cy="4743"/>
            </a:xfrm>
            <a:custGeom>
              <a:avLst/>
              <a:gdLst/>
              <a:ahLst/>
              <a:cxnLst/>
              <a:rect l="l" t="t" r="r" b="b"/>
              <a:pathLst>
                <a:path w="1053" h="148" extrusionOk="0">
                  <a:moveTo>
                    <a:pt x="324" y="1"/>
                  </a:moveTo>
                  <a:cubicBezTo>
                    <a:pt x="132" y="1"/>
                    <a:pt x="0" y="19"/>
                    <a:pt x="0" y="57"/>
                  </a:cubicBezTo>
                  <a:cubicBezTo>
                    <a:pt x="0" y="90"/>
                    <a:pt x="234" y="141"/>
                    <a:pt x="518" y="141"/>
                  </a:cubicBezTo>
                  <a:cubicBezTo>
                    <a:pt x="599" y="145"/>
                    <a:pt x="674" y="147"/>
                    <a:pt x="742" y="147"/>
                  </a:cubicBezTo>
                  <a:cubicBezTo>
                    <a:pt x="927" y="147"/>
                    <a:pt x="1053" y="132"/>
                    <a:pt x="1053" y="107"/>
                  </a:cubicBezTo>
                  <a:cubicBezTo>
                    <a:pt x="1053" y="57"/>
                    <a:pt x="819" y="24"/>
                    <a:pt x="535" y="7"/>
                  </a:cubicBezTo>
                  <a:cubicBezTo>
                    <a:pt x="459" y="3"/>
                    <a:pt x="388" y="1"/>
                    <a:pt x="324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8" name="Google Shape;698;p25"/>
            <p:cNvSpPr/>
            <p:nvPr/>
          </p:nvSpPr>
          <p:spPr>
            <a:xfrm>
              <a:off x="7353577" y="2960787"/>
              <a:ext cx="47690" cy="45575"/>
            </a:xfrm>
            <a:custGeom>
              <a:avLst/>
              <a:gdLst/>
              <a:ahLst/>
              <a:cxnLst/>
              <a:rect l="l" t="t" r="r" b="b"/>
              <a:pathLst>
                <a:path w="1488" h="1422" extrusionOk="0">
                  <a:moveTo>
                    <a:pt x="652" y="0"/>
                  </a:moveTo>
                  <a:lnTo>
                    <a:pt x="652" y="0"/>
                  </a:lnTo>
                  <a:cubicBezTo>
                    <a:pt x="652" y="0"/>
                    <a:pt x="585" y="0"/>
                    <a:pt x="485" y="34"/>
                  </a:cubicBezTo>
                  <a:cubicBezTo>
                    <a:pt x="352" y="84"/>
                    <a:pt x="218" y="201"/>
                    <a:pt x="151" y="318"/>
                  </a:cubicBezTo>
                  <a:cubicBezTo>
                    <a:pt x="17" y="518"/>
                    <a:pt x="1" y="769"/>
                    <a:pt x="101" y="986"/>
                  </a:cubicBezTo>
                  <a:cubicBezTo>
                    <a:pt x="213" y="1257"/>
                    <a:pt x="476" y="1422"/>
                    <a:pt x="747" y="1422"/>
                  </a:cubicBezTo>
                  <a:cubicBezTo>
                    <a:pt x="760" y="1422"/>
                    <a:pt x="773" y="1421"/>
                    <a:pt x="786" y="1421"/>
                  </a:cubicBezTo>
                  <a:cubicBezTo>
                    <a:pt x="1087" y="1387"/>
                    <a:pt x="1337" y="1187"/>
                    <a:pt x="1421" y="903"/>
                  </a:cubicBezTo>
                  <a:cubicBezTo>
                    <a:pt x="1488" y="669"/>
                    <a:pt x="1404" y="418"/>
                    <a:pt x="1204" y="251"/>
                  </a:cubicBezTo>
                  <a:cubicBezTo>
                    <a:pt x="1087" y="151"/>
                    <a:pt x="936" y="101"/>
                    <a:pt x="786" y="101"/>
                  </a:cubicBezTo>
                  <a:cubicBezTo>
                    <a:pt x="686" y="117"/>
                    <a:pt x="619" y="151"/>
                    <a:pt x="636" y="151"/>
                  </a:cubicBezTo>
                  <a:cubicBezTo>
                    <a:pt x="636" y="159"/>
                    <a:pt x="648" y="159"/>
                    <a:pt x="673" y="159"/>
                  </a:cubicBezTo>
                  <a:cubicBezTo>
                    <a:pt x="698" y="159"/>
                    <a:pt x="736" y="159"/>
                    <a:pt x="786" y="168"/>
                  </a:cubicBezTo>
                  <a:cubicBezTo>
                    <a:pt x="920" y="184"/>
                    <a:pt x="1053" y="234"/>
                    <a:pt x="1137" y="335"/>
                  </a:cubicBezTo>
                  <a:cubicBezTo>
                    <a:pt x="1287" y="468"/>
                    <a:pt x="1354" y="669"/>
                    <a:pt x="1287" y="853"/>
                  </a:cubicBezTo>
                  <a:cubicBezTo>
                    <a:pt x="1220" y="1087"/>
                    <a:pt x="1020" y="1254"/>
                    <a:pt x="786" y="1287"/>
                  </a:cubicBezTo>
                  <a:cubicBezTo>
                    <a:pt x="535" y="1287"/>
                    <a:pt x="318" y="1153"/>
                    <a:pt x="218" y="936"/>
                  </a:cubicBezTo>
                  <a:cubicBezTo>
                    <a:pt x="134" y="752"/>
                    <a:pt x="134" y="552"/>
                    <a:pt x="235" y="368"/>
                  </a:cubicBezTo>
                  <a:cubicBezTo>
                    <a:pt x="335" y="218"/>
                    <a:pt x="469" y="84"/>
                    <a:pt x="652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9" name="Google Shape;699;p25"/>
            <p:cNvSpPr/>
            <p:nvPr/>
          </p:nvSpPr>
          <p:spPr>
            <a:xfrm>
              <a:off x="7345564" y="2844574"/>
              <a:ext cx="46056" cy="123745"/>
            </a:xfrm>
            <a:custGeom>
              <a:avLst/>
              <a:gdLst/>
              <a:ahLst/>
              <a:cxnLst/>
              <a:rect l="l" t="t" r="r" b="b"/>
              <a:pathLst>
                <a:path w="1437" h="3861" extrusionOk="0">
                  <a:moveTo>
                    <a:pt x="1420" y="1"/>
                  </a:moveTo>
                  <a:cubicBezTo>
                    <a:pt x="1421" y="3"/>
                    <a:pt x="1422" y="6"/>
                    <a:pt x="1421" y="9"/>
                  </a:cubicBezTo>
                  <a:lnTo>
                    <a:pt x="1421" y="9"/>
                  </a:lnTo>
                  <a:cubicBezTo>
                    <a:pt x="1426" y="6"/>
                    <a:pt x="1432" y="3"/>
                    <a:pt x="1437" y="1"/>
                  </a:cubicBezTo>
                  <a:close/>
                  <a:moveTo>
                    <a:pt x="1421" y="9"/>
                  </a:moveTo>
                  <a:cubicBezTo>
                    <a:pt x="1228" y="108"/>
                    <a:pt x="1066" y="239"/>
                    <a:pt x="936" y="402"/>
                  </a:cubicBezTo>
                  <a:cubicBezTo>
                    <a:pt x="201" y="1187"/>
                    <a:pt x="0" y="2323"/>
                    <a:pt x="401" y="3309"/>
                  </a:cubicBezTo>
                  <a:cubicBezTo>
                    <a:pt x="468" y="3509"/>
                    <a:pt x="568" y="3710"/>
                    <a:pt x="719" y="3860"/>
                  </a:cubicBezTo>
                  <a:cubicBezTo>
                    <a:pt x="752" y="3844"/>
                    <a:pt x="618" y="3643"/>
                    <a:pt x="485" y="3276"/>
                  </a:cubicBezTo>
                  <a:cubicBezTo>
                    <a:pt x="167" y="2323"/>
                    <a:pt x="351" y="1254"/>
                    <a:pt x="1003" y="469"/>
                  </a:cubicBezTo>
                  <a:cubicBezTo>
                    <a:pt x="1236" y="188"/>
                    <a:pt x="1412" y="53"/>
                    <a:pt x="1421" y="9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0" name="Google Shape;700;p25"/>
            <p:cNvSpPr/>
            <p:nvPr/>
          </p:nvSpPr>
          <p:spPr>
            <a:xfrm>
              <a:off x="7348769" y="3002420"/>
              <a:ext cx="31633" cy="132431"/>
            </a:xfrm>
            <a:custGeom>
              <a:avLst/>
              <a:gdLst/>
              <a:ahLst/>
              <a:cxnLst/>
              <a:rect l="l" t="t" r="r" b="b"/>
              <a:pathLst>
                <a:path w="987" h="4132" extrusionOk="0">
                  <a:moveTo>
                    <a:pt x="919" y="1"/>
                  </a:moveTo>
                  <a:cubicBezTo>
                    <a:pt x="886" y="1"/>
                    <a:pt x="836" y="5"/>
                    <a:pt x="769" y="21"/>
                  </a:cubicBezTo>
                  <a:cubicBezTo>
                    <a:pt x="602" y="72"/>
                    <a:pt x="451" y="172"/>
                    <a:pt x="334" y="305"/>
                  </a:cubicBezTo>
                  <a:cubicBezTo>
                    <a:pt x="184" y="523"/>
                    <a:pt x="84" y="757"/>
                    <a:pt x="50" y="1024"/>
                  </a:cubicBezTo>
                  <a:cubicBezTo>
                    <a:pt x="17" y="1341"/>
                    <a:pt x="0" y="1642"/>
                    <a:pt x="34" y="1960"/>
                  </a:cubicBezTo>
                  <a:cubicBezTo>
                    <a:pt x="84" y="2528"/>
                    <a:pt x="268" y="3079"/>
                    <a:pt x="535" y="3564"/>
                  </a:cubicBezTo>
                  <a:cubicBezTo>
                    <a:pt x="652" y="3781"/>
                    <a:pt x="786" y="3965"/>
                    <a:pt x="953" y="4132"/>
                  </a:cubicBezTo>
                  <a:cubicBezTo>
                    <a:pt x="986" y="4115"/>
                    <a:pt x="819" y="3898"/>
                    <a:pt x="635" y="3530"/>
                  </a:cubicBezTo>
                  <a:cubicBezTo>
                    <a:pt x="385" y="3029"/>
                    <a:pt x="234" y="2494"/>
                    <a:pt x="184" y="1943"/>
                  </a:cubicBezTo>
                  <a:cubicBezTo>
                    <a:pt x="117" y="1308"/>
                    <a:pt x="167" y="706"/>
                    <a:pt x="418" y="372"/>
                  </a:cubicBezTo>
                  <a:cubicBezTo>
                    <a:pt x="552" y="189"/>
                    <a:pt x="752" y="55"/>
                    <a:pt x="969" y="5"/>
                  </a:cubicBezTo>
                  <a:cubicBezTo>
                    <a:pt x="969" y="5"/>
                    <a:pt x="953" y="1"/>
                    <a:pt x="91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1" name="Google Shape;701;p25"/>
            <p:cNvSpPr/>
            <p:nvPr/>
          </p:nvSpPr>
          <p:spPr>
            <a:xfrm>
              <a:off x="7304316" y="2972581"/>
              <a:ext cx="47146" cy="9262"/>
            </a:xfrm>
            <a:custGeom>
              <a:avLst/>
              <a:gdLst/>
              <a:ahLst/>
              <a:cxnLst/>
              <a:rect l="l" t="t" r="r" b="b"/>
              <a:pathLst>
                <a:path w="1471" h="289" extrusionOk="0">
                  <a:moveTo>
                    <a:pt x="736" y="0"/>
                  </a:moveTo>
                  <a:cubicBezTo>
                    <a:pt x="285" y="0"/>
                    <a:pt x="1" y="251"/>
                    <a:pt x="34" y="284"/>
                  </a:cubicBezTo>
                  <a:cubicBezTo>
                    <a:pt x="35" y="287"/>
                    <a:pt x="39" y="288"/>
                    <a:pt x="44" y="288"/>
                  </a:cubicBezTo>
                  <a:cubicBezTo>
                    <a:pt x="99" y="288"/>
                    <a:pt x="368" y="134"/>
                    <a:pt x="736" y="134"/>
                  </a:cubicBezTo>
                  <a:cubicBezTo>
                    <a:pt x="1100" y="134"/>
                    <a:pt x="1368" y="272"/>
                    <a:pt x="1426" y="272"/>
                  </a:cubicBezTo>
                  <a:cubicBezTo>
                    <a:pt x="1432" y="272"/>
                    <a:pt x="1436" y="270"/>
                    <a:pt x="1437" y="267"/>
                  </a:cubicBezTo>
                  <a:cubicBezTo>
                    <a:pt x="1471" y="251"/>
                    <a:pt x="1187" y="0"/>
                    <a:pt x="73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2" name="Google Shape;702;p25"/>
            <p:cNvSpPr/>
            <p:nvPr/>
          </p:nvSpPr>
          <p:spPr>
            <a:xfrm>
              <a:off x="7048877" y="2960787"/>
              <a:ext cx="47690" cy="45575"/>
            </a:xfrm>
            <a:custGeom>
              <a:avLst/>
              <a:gdLst/>
              <a:ahLst/>
              <a:cxnLst/>
              <a:rect l="l" t="t" r="r" b="b"/>
              <a:pathLst>
                <a:path w="1488" h="1422" extrusionOk="0">
                  <a:moveTo>
                    <a:pt x="652" y="0"/>
                  </a:moveTo>
                  <a:cubicBezTo>
                    <a:pt x="652" y="0"/>
                    <a:pt x="585" y="0"/>
                    <a:pt x="485" y="34"/>
                  </a:cubicBezTo>
                  <a:cubicBezTo>
                    <a:pt x="351" y="84"/>
                    <a:pt x="234" y="201"/>
                    <a:pt x="151" y="318"/>
                  </a:cubicBezTo>
                  <a:cubicBezTo>
                    <a:pt x="17" y="518"/>
                    <a:pt x="1" y="769"/>
                    <a:pt x="101" y="986"/>
                  </a:cubicBezTo>
                  <a:cubicBezTo>
                    <a:pt x="212" y="1257"/>
                    <a:pt x="476" y="1422"/>
                    <a:pt x="761" y="1422"/>
                  </a:cubicBezTo>
                  <a:cubicBezTo>
                    <a:pt x="775" y="1422"/>
                    <a:pt x="789" y="1421"/>
                    <a:pt x="803" y="1421"/>
                  </a:cubicBezTo>
                  <a:cubicBezTo>
                    <a:pt x="1087" y="1387"/>
                    <a:pt x="1337" y="1187"/>
                    <a:pt x="1421" y="903"/>
                  </a:cubicBezTo>
                  <a:cubicBezTo>
                    <a:pt x="1488" y="652"/>
                    <a:pt x="1404" y="418"/>
                    <a:pt x="1220" y="251"/>
                  </a:cubicBezTo>
                  <a:cubicBezTo>
                    <a:pt x="1103" y="151"/>
                    <a:pt x="936" y="101"/>
                    <a:pt x="786" y="101"/>
                  </a:cubicBezTo>
                  <a:cubicBezTo>
                    <a:pt x="686" y="117"/>
                    <a:pt x="635" y="151"/>
                    <a:pt x="635" y="151"/>
                  </a:cubicBezTo>
                  <a:cubicBezTo>
                    <a:pt x="635" y="159"/>
                    <a:pt x="648" y="159"/>
                    <a:pt x="673" y="159"/>
                  </a:cubicBezTo>
                  <a:cubicBezTo>
                    <a:pt x="698" y="159"/>
                    <a:pt x="736" y="159"/>
                    <a:pt x="786" y="168"/>
                  </a:cubicBezTo>
                  <a:cubicBezTo>
                    <a:pt x="919" y="184"/>
                    <a:pt x="1053" y="234"/>
                    <a:pt x="1153" y="335"/>
                  </a:cubicBezTo>
                  <a:cubicBezTo>
                    <a:pt x="1287" y="468"/>
                    <a:pt x="1354" y="669"/>
                    <a:pt x="1287" y="853"/>
                  </a:cubicBezTo>
                  <a:cubicBezTo>
                    <a:pt x="1220" y="1087"/>
                    <a:pt x="1020" y="1254"/>
                    <a:pt x="786" y="1287"/>
                  </a:cubicBezTo>
                  <a:cubicBezTo>
                    <a:pt x="552" y="1287"/>
                    <a:pt x="318" y="1153"/>
                    <a:pt x="218" y="936"/>
                  </a:cubicBezTo>
                  <a:cubicBezTo>
                    <a:pt x="134" y="752"/>
                    <a:pt x="134" y="552"/>
                    <a:pt x="234" y="368"/>
                  </a:cubicBezTo>
                  <a:cubicBezTo>
                    <a:pt x="335" y="218"/>
                    <a:pt x="468" y="84"/>
                    <a:pt x="652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3" name="Google Shape;703;p25"/>
            <p:cNvSpPr/>
            <p:nvPr/>
          </p:nvSpPr>
          <p:spPr>
            <a:xfrm>
              <a:off x="7040833" y="2844574"/>
              <a:ext cx="46088" cy="123745"/>
            </a:xfrm>
            <a:custGeom>
              <a:avLst/>
              <a:gdLst/>
              <a:ahLst/>
              <a:cxnLst/>
              <a:rect l="l" t="t" r="r" b="b"/>
              <a:pathLst>
                <a:path w="1438" h="3861" extrusionOk="0">
                  <a:moveTo>
                    <a:pt x="1438" y="1"/>
                  </a:moveTo>
                  <a:lnTo>
                    <a:pt x="1438" y="1"/>
                  </a:lnTo>
                  <a:cubicBezTo>
                    <a:pt x="1237" y="101"/>
                    <a:pt x="1070" y="235"/>
                    <a:pt x="937" y="402"/>
                  </a:cubicBezTo>
                  <a:cubicBezTo>
                    <a:pt x="201" y="1187"/>
                    <a:pt x="1" y="2323"/>
                    <a:pt x="402" y="3309"/>
                  </a:cubicBezTo>
                  <a:cubicBezTo>
                    <a:pt x="469" y="3509"/>
                    <a:pt x="569" y="3710"/>
                    <a:pt x="719" y="3860"/>
                  </a:cubicBezTo>
                  <a:cubicBezTo>
                    <a:pt x="753" y="3844"/>
                    <a:pt x="619" y="3643"/>
                    <a:pt x="485" y="3276"/>
                  </a:cubicBezTo>
                  <a:cubicBezTo>
                    <a:pt x="168" y="2323"/>
                    <a:pt x="352" y="1254"/>
                    <a:pt x="1003" y="469"/>
                  </a:cubicBezTo>
                  <a:cubicBezTo>
                    <a:pt x="1254" y="168"/>
                    <a:pt x="1438" y="34"/>
                    <a:pt x="1438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4" name="Google Shape;704;p25"/>
            <p:cNvSpPr/>
            <p:nvPr/>
          </p:nvSpPr>
          <p:spPr>
            <a:xfrm>
              <a:off x="7044070" y="3002420"/>
              <a:ext cx="31601" cy="132431"/>
            </a:xfrm>
            <a:custGeom>
              <a:avLst/>
              <a:gdLst/>
              <a:ahLst/>
              <a:cxnLst/>
              <a:rect l="l" t="t" r="r" b="b"/>
              <a:pathLst>
                <a:path w="986" h="4132" extrusionOk="0">
                  <a:moveTo>
                    <a:pt x="919" y="1"/>
                  </a:moveTo>
                  <a:cubicBezTo>
                    <a:pt x="886" y="1"/>
                    <a:pt x="836" y="5"/>
                    <a:pt x="769" y="21"/>
                  </a:cubicBezTo>
                  <a:cubicBezTo>
                    <a:pt x="602" y="72"/>
                    <a:pt x="451" y="172"/>
                    <a:pt x="351" y="305"/>
                  </a:cubicBezTo>
                  <a:cubicBezTo>
                    <a:pt x="184" y="523"/>
                    <a:pt x="84" y="757"/>
                    <a:pt x="50" y="1024"/>
                  </a:cubicBezTo>
                  <a:cubicBezTo>
                    <a:pt x="17" y="1341"/>
                    <a:pt x="0" y="1642"/>
                    <a:pt x="34" y="1960"/>
                  </a:cubicBezTo>
                  <a:cubicBezTo>
                    <a:pt x="84" y="2528"/>
                    <a:pt x="267" y="3079"/>
                    <a:pt x="552" y="3564"/>
                  </a:cubicBezTo>
                  <a:cubicBezTo>
                    <a:pt x="652" y="3781"/>
                    <a:pt x="785" y="3965"/>
                    <a:pt x="969" y="4132"/>
                  </a:cubicBezTo>
                  <a:cubicBezTo>
                    <a:pt x="986" y="4115"/>
                    <a:pt x="819" y="3898"/>
                    <a:pt x="635" y="3530"/>
                  </a:cubicBezTo>
                  <a:cubicBezTo>
                    <a:pt x="384" y="3029"/>
                    <a:pt x="234" y="2494"/>
                    <a:pt x="184" y="1943"/>
                  </a:cubicBezTo>
                  <a:cubicBezTo>
                    <a:pt x="117" y="1308"/>
                    <a:pt x="167" y="706"/>
                    <a:pt x="418" y="372"/>
                  </a:cubicBezTo>
                  <a:cubicBezTo>
                    <a:pt x="552" y="189"/>
                    <a:pt x="752" y="55"/>
                    <a:pt x="969" y="5"/>
                  </a:cubicBezTo>
                  <a:cubicBezTo>
                    <a:pt x="969" y="5"/>
                    <a:pt x="953" y="1"/>
                    <a:pt x="91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" name="Google Shape;705;p25"/>
            <p:cNvSpPr/>
            <p:nvPr/>
          </p:nvSpPr>
          <p:spPr>
            <a:xfrm>
              <a:off x="6999616" y="2972581"/>
              <a:ext cx="47146" cy="9262"/>
            </a:xfrm>
            <a:custGeom>
              <a:avLst/>
              <a:gdLst/>
              <a:ahLst/>
              <a:cxnLst/>
              <a:rect l="l" t="t" r="r" b="b"/>
              <a:pathLst>
                <a:path w="1471" h="289" extrusionOk="0">
                  <a:moveTo>
                    <a:pt x="736" y="0"/>
                  </a:moveTo>
                  <a:cubicBezTo>
                    <a:pt x="284" y="0"/>
                    <a:pt x="0" y="251"/>
                    <a:pt x="34" y="284"/>
                  </a:cubicBezTo>
                  <a:cubicBezTo>
                    <a:pt x="35" y="287"/>
                    <a:pt x="39" y="288"/>
                    <a:pt x="44" y="288"/>
                  </a:cubicBezTo>
                  <a:cubicBezTo>
                    <a:pt x="101" y="288"/>
                    <a:pt x="383" y="134"/>
                    <a:pt x="736" y="134"/>
                  </a:cubicBezTo>
                  <a:cubicBezTo>
                    <a:pt x="1100" y="134"/>
                    <a:pt x="1368" y="272"/>
                    <a:pt x="1426" y="272"/>
                  </a:cubicBezTo>
                  <a:cubicBezTo>
                    <a:pt x="1432" y="272"/>
                    <a:pt x="1436" y="270"/>
                    <a:pt x="1437" y="267"/>
                  </a:cubicBezTo>
                  <a:cubicBezTo>
                    <a:pt x="1471" y="251"/>
                    <a:pt x="1187" y="0"/>
                    <a:pt x="73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" name="Google Shape;706;p25"/>
            <p:cNvSpPr/>
            <p:nvPr/>
          </p:nvSpPr>
          <p:spPr>
            <a:xfrm>
              <a:off x="7441394" y="3389904"/>
              <a:ext cx="450943" cy="895573"/>
            </a:xfrm>
            <a:custGeom>
              <a:avLst/>
              <a:gdLst/>
              <a:ahLst/>
              <a:cxnLst/>
              <a:rect l="l" t="t" r="r" b="b"/>
              <a:pathLst>
                <a:path w="14070" h="27943" extrusionOk="0">
                  <a:moveTo>
                    <a:pt x="6802" y="1"/>
                  </a:moveTo>
                  <a:cubicBezTo>
                    <a:pt x="4711" y="1"/>
                    <a:pt x="2768" y="395"/>
                    <a:pt x="2073" y="1699"/>
                  </a:cubicBezTo>
                  <a:cubicBezTo>
                    <a:pt x="318" y="5008"/>
                    <a:pt x="1" y="27731"/>
                    <a:pt x="1" y="27731"/>
                  </a:cubicBezTo>
                  <a:cubicBezTo>
                    <a:pt x="1" y="27731"/>
                    <a:pt x="5721" y="27943"/>
                    <a:pt x="9858" y="27943"/>
                  </a:cubicBezTo>
                  <a:cubicBezTo>
                    <a:pt x="12193" y="27943"/>
                    <a:pt x="14024" y="27875"/>
                    <a:pt x="14036" y="27664"/>
                  </a:cubicBezTo>
                  <a:cubicBezTo>
                    <a:pt x="14070" y="27063"/>
                    <a:pt x="13501" y="914"/>
                    <a:pt x="13501" y="914"/>
                  </a:cubicBezTo>
                  <a:lnTo>
                    <a:pt x="13518" y="914"/>
                  </a:lnTo>
                  <a:cubicBezTo>
                    <a:pt x="13518" y="914"/>
                    <a:pt x="9987" y="1"/>
                    <a:pt x="6802" y="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" name="Google Shape;707;p25"/>
            <p:cNvSpPr/>
            <p:nvPr/>
          </p:nvSpPr>
          <p:spPr>
            <a:xfrm>
              <a:off x="7559209" y="3398398"/>
              <a:ext cx="340627" cy="889259"/>
            </a:xfrm>
            <a:custGeom>
              <a:avLst/>
              <a:gdLst/>
              <a:ahLst/>
              <a:cxnLst/>
              <a:rect l="l" t="t" r="r" b="b"/>
              <a:pathLst>
                <a:path w="10628" h="27746" extrusionOk="0">
                  <a:moveTo>
                    <a:pt x="6106" y="1"/>
                  </a:moveTo>
                  <a:cubicBezTo>
                    <a:pt x="4532" y="1"/>
                    <a:pt x="2951" y="299"/>
                    <a:pt x="2206" y="1334"/>
                  </a:cubicBezTo>
                  <a:cubicBezTo>
                    <a:pt x="452" y="3773"/>
                    <a:pt x="1" y="27583"/>
                    <a:pt x="1" y="27583"/>
                  </a:cubicBezTo>
                  <a:cubicBezTo>
                    <a:pt x="1" y="27583"/>
                    <a:pt x="5511" y="27745"/>
                    <a:pt x="8521" y="27745"/>
                  </a:cubicBezTo>
                  <a:cubicBezTo>
                    <a:pt x="9608" y="27745"/>
                    <a:pt x="10369" y="27724"/>
                    <a:pt x="10427" y="27667"/>
                  </a:cubicBezTo>
                  <a:cubicBezTo>
                    <a:pt x="10627" y="27466"/>
                    <a:pt x="10360" y="549"/>
                    <a:pt x="10360" y="549"/>
                  </a:cubicBezTo>
                  <a:cubicBezTo>
                    <a:pt x="10360" y="549"/>
                    <a:pt x="8240" y="1"/>
                    <a:pt x="6106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8" name="Google Shape;708;p25"/>
            <p:cNvSpPr/>
            <p:nvPr/>
          </p:nvSpPr>
          <p:spPr>
            <a:xfrm>
              <a:off x="7756285" y="3790818"/>
              <a:ext cx="31088" cy="40319"/>
            </a:xfrm>
            <a:custGeom>
              <a:avLst/>
              <a:gdLst/>
              <a:ahLst/>
              <a:cxnLst/>
              <a:rect l="l" t="t" r="r" b="b"/>
              <a:pathLst>
                <a:path w="970" h="1258" extrusionOk="0">
                  <a:moveTo>
                    <a:pt x="318" y="1"/>
                  </a:moveTo>
                  <a:cubicBezTo>
                    <a:pt x="304" y="14"/>
                    <a:pt x="346" y="39"/>
                    <a:pt x="415" y="65"/>
                  </a:cubicBezTo>
                  <a:lnTo>
                    <a:pt x="415" y="65"/>
                  </a:lnTo>
                  <a:cubicBezTo>
                    <a:pt x="256" y="164"/>
                    <a:pt x="126" y="304"/>
                    <a:pt x="51" y="485"/>
                  </a:cubicBezTo>
                  <a:cubicBezTo>
                    <a:pt x="1" y="619"/>
                    <a:pt x="1" y="769"/>
                    <a:pt x="51" y="920"/>
                  </a:cubicBezTo>
                  <a:cubicBezTo>
                    <a:pt x="101" y="1087"/>
                    <a:pt x="251" y="1220"/>
                    <a:pt x="435" y="1254"/>
                  </a:cubicBezTo>
                  <a:cubicBezTo>
                    <a:pt x="457" y="1257"/>
                    <a:pt x="480" y="1258"/>
                    <a:pt x="502" y="1258"/>
                  </a:cubicBezTo>
                  <a:cubicBezTo>
                    <a:pt x="612" y="1258"/>
                    <a:pt x="716" y="1223"/>
                    <a:pt x="786" y="1154"/>
                  </a:cubicBezTo>
                  <a:cubicBezTo>
                    <a:pt x="886" y="1070"/>
                    <a:pt x="936" y="953"/>
                    <a:pt x="953" y="836"/>
                  </a:cubicBezTo>
                  <a:cubicBezTo>
                    <a:pt x="970" y="652"/>
                    <a:pt x="953" y="468"/>
                    <a:pt x="886" y="301"/>
                  </a:cubicBezTo>
                  <a:cubicBezTo>
                    <a:pt x="836" y="168"/>
                    <a:pt x="719" y="101"/>
                    <a:pt x="585" y="101"/>
                  </a:cubicBezTo>
                  <a:cubicBezTo>
                    <a:pt x="485" y="101"/>
                    <a:pt x="452" y="151"/>
                    <a:pt x="452" y="168"/>
                  </a:cubicBezTo>
                  <a:lnTo>
                    <a:pt x="468" y="168"/>
                  </a:lnTo>
                  <a:cubicBezTo>
                    <a:pt x="468" y="168"/>
                    <a:pt x="502" y="151"/>
                    <a:pt x="585" y="151"/>
                  </a:cubicBezTo>
                  <a:cubicBezTo>
                    <a:pt x="686" y="168"/>
                    <a:pt x="769" y="235"/>
                    <a:pt x="803" y="335"/>
                  </a:cubicBezTo>
                  <a:cubicBezTo>
                    <a:pt x="836" y="502"/>
                    <a:pt x="853" y="652"/>
                    <a:pt x="819" y="819"/>
                  </a:cubicBezTo>
                  <a:cubicBezTo>
                    <a:pt x="804" y="984"/>
                    <a:pt x="669" y="1109"/>
                    <a:pt x="508" y="1109"/>
                  </a:cubicBezTo>
                  <a:cubicBezTo>
                    <a:pt x="490" y="1109"/>
                    <a:pt x="471" y="1107"/>
                    <a:pt x="452" y="1103"/>
                  </a:cubicBezTo>
                  <a:cubicBezTo>
                    <a:pt x="335" y="1087"/>
                    <a:pt x="218" y="986"/>
                    <a:pt x="184" y="869"/>
                  </a:cubicBezTo>
                  <a:cubicBezTo>
                    <a:pt x="134" y="753"/>
                    <a:pt x="134" y="636"/>
                    <a:pt x="168" y="519"/>
                  </a:cubicBezTo>
                  <a:cubicBezTo>
                    <a:pt x="234" y="352"/>
                    <a:pt x="351" y="201"/>
                    <a:pt x="502" y="84"/>
                  </a:cubicBezTo>
                  <a:lnTo>
                    <a:pt x="552" y="51"/>
                  </a:lnTo>
                  <a:lnTo>
                    <a:pt x="485" y="34"/>
                  </a:lnTo>
                  <a:cubicBezTo>
                    <a:pt x="385" y="1"/>
                    <a:pt x="318" y="1"/>
                    <a:pt x="318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9" name="Google Shape;709;p25"/>
            <p:cNvSpPr/>
            <p:nvPr/>
          </p:nvSpPr>
          <p:spPr>
            <a:xfrm>
              <a:off x="7712376" y="3657490"/>
              <a:ext cx="61087" cy="140315"/>
            </a:xfrm>
            <a:custGeom>
              <a:avLst/>
              <a:gdLst/>
              <a:ahLst/>
              <a:cxnLst/>
              <a:rect l="l" t="t" r="r" b="b"/>
              <a:pathLst>
                <a:path w="1906" h="4378" extrusionOk="0">
                  <a:moveTo>
                    <a:pt x="0" y="0"/>
                  </a:moveTo>
                  <a:lnTo>
                    <a:pt x="0" y="0"/>
                  </a:lnTo>
                  <a:cubicBezTo>
                    <a:pt x="101" y="217"/>
                    <a:pt x="201" y="435"/>
                    <a:pt x="318" y="635"/>
                  </a:cubicBezTo>
                  <a:cubicBezTo>
                    <a:pt x="518" y="1019"/>
                    <a:pt x="786" y="1554"/>
                    <a:pt x="1053" y="2156"/>
                  </a:cubicBezTo>
                  <a:cubicBezTo>
                    <a:pt x="1304" y="2757"/>
                    <a:pt x="1521" y="3325"/>
                    <a:pt x="1655" y="3726"/>
                  </a:cubicBezTo>
                  <a:cubicBezTo>
                    <a:pt x="1721" y="3960"/>
                    <a:pt x="1805" y="4177"/>
                    <a:pt x="1905" y="4378"/>
                  </a:cubicBezTo>
                  <a:cubicBezTo>
                    <a:pt x="1889" y="4144"/>
                    <a:pt x="1838" y="3910"/>
                    <a:pt x="1755" y="3693"/>
                  </a:cubicBezTo>
                  <a:cubicBezTo>
                    <a:pt x="1437" y="2607"/>
                    <a:pt x="986" y="1554"/>
                    <a:pt x="401" y="585"/>
                  </a:cubicBezTo>
                  <a:cubicBezTo>
                    <a:pt x="301" y="368"/>
                    <a:pt x="168" y="184"/>
                    <a:pt x="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0" name="Google Shape;710;p25"/>
            <p:cNvSpPr/>
            <p:nvPr/>
          </p:nvSpPr>
          <p:spPr>
            <a:xfrm>
              <a:off x="7779329" y="3670342"/>
              <a:ext cx="55703" cy="129610"/>
            </a:xfrm>
            <a:custGeom>
              <a:avLst/>
              <a:gdLst/>
              <a:ahLst/>
              <a:cxnLst/>
              <a:rect l="l" t="t" r="r" b="b"/>
              <a:pathLst>
                <a:path w="1738" h="4044" extrusionOk="0">
                  <a:moveTo>
                    <a:pt x="1738" y="0"/>
                  </a:moveTo>
                  <a:cubicBezTo>
                    <a:pt x="1604" y="167"/>
                    <a:pt x="1487" y="351"/>
                    <a:pt x="1404" y="552"/>
                  </a:cubicBezTo>
                  <a:cubicBezTo>
                    <a:pt x="1220" y="902"/>
                    <a:pt x="969" y="1404"/>
                    <a:pt x="718" y="1955"/>
                  </a:cubicBezTo>
                  <a:cubicBezTo>
                    <a:pt x="485" y="2523"/>
                    <a:pt x="284" y="3041"/>
                    <a:pt x="167" y="3425"/>
                  </a:cubicBezTo>
                  <a:cubicBezTo>
                    <a:pt x="84" y="3626"/>
                    <a:pt x="17" y="3826"/>
                    <a:pt x="0" y="4044"/>
                  </a:cubicBezTo>
                  <a:cubicBezTo>
                    <a:pt x="100" y="3860"/>
                    <a:pt x="184" y="3659"/>
                    <a:pt x="251" y="3459"/>
                  </a:cubicBezTo>
                  <a:cubicBezTo>
                    <a:pt x="401" y="3091"/>
                    <a:pt x="618" y="2573"/>
                    <a:pt x="852" y="2022"/>
                  </a:cubicBezTo>
                  <a:cubicBezTo>
                    <a:pt x="1103" y="1471"/>
                    <a:pt x="1320" y="969"/>
                    <a:pt x="1487" y="602"/>
                  </a:cubicBezTo>
                  <a:cubicBezTo>
                    <a:pt x="1587" y="418"/>
                    <a:pt x="1671" y="217"/>
                    <a:pt x="173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1" name="Google Shape;711;p25"/>
            <p:cNvSpPr/>
            <p:nvPr/>
          </p:nvSpPr>
          <p:spPr>
            <a:xfrm>
              <a:off x="7713979" y="3826169"/>
              <a:ext cx="49293" cy="217972"/>
            </a:xfrm>
            <a:custGeom>
              <a:avLst/>
              <a:gdLst/>
              <a:ahLst/>
              <a:cxnLst/>
              <a:rect l="l" t="t" r="r" b="b"/>
              <a:pathLst>
                <a:path w="1538" h="6801" extrusionOk="0">
                  <a:moveTo>
                    <a:pt x="1538" y="0"/>
                  </a:moveTo>
                  <a:lnTo>
                    <a:pt x="1538" y="0"/>
                  </a:lnTo>
                  <a:cubicBezTo>
                    <a:pt x="1488" y="84"/>
                    <a:pt x="1454" y="168"/>
                    <a:pt x="1438" y="268"/>
                  </a:cubicBezTo>
                  <a:cubicBezTo>
                    <a:pt x="1371" y="435"/>
                    <a:pt x="1304" y="669"/>
                    <a:pt x="1204" y="970"/>
                  </a:cubicBezTo>
                  <a:cubicBezTo>
                    <a:pt x="1037" y="1588"/>
                    <a:pt x="803" y="2423"/>
                    <a:pt x="585" y="3376"/>
                  </a:cubicBezTo>
                  <a:cubicBezTo>
                    <a:pt x="385" y="4311"/>
                    <a:pt x="218" y="5163"/>
                    <a:pt x="118" y="5798"/>
                  </a:cubicBezTo>
                  <a:cubicBezTo>
                    <a:pt x="67" y="6099"/>
                    <a:pt x="34" y="6350"/>
                    <a:pt x="17" y="6533"/>
                  </a:cubicBezTo>
                  <a:cubicBezTo>
                    <a:pt x="1" y="6617"/>
                    <a:pt x="1" y="6717"/>
                    <a:pt x="1" y="6801"/>
                  </a:cubicBezTo>
                  <a:cubicBezTo>
                    <a:pt x="101" y="6483"/>
                    <a:pt x="168" y="6149"/>
                    <a:pt x="218" y="5815"/>
                  </a:cubicBezTo>
                  <a:cubicBezTo>
                    <a:pt x="351" y="5197"/>
                    <a:pt x="519" y="4345"/>
                    <a:pt x="736" y="3392"/>
                  </a:cubicBezTo>
                  <a:cubicBezTo>
                    <a:pt x="936" y="2457"/>
                    <a:pt x="1153" y="1621"/>
                    <a:pt x="1304" y="1003"/>
                  </a:cubicBezTo>
                  <a:cubicBezTo>
                    <a:pt x="1404" y="669"/>
                    <a:pt x="1488" y="351"/>
                    <a:pt x="153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2" name="Google Shape;712;p25"/>
            <p:cNvSpPr/>
            <p:nvPr/>
          </p:nvSpPr>
          <p:spPr>
            <a:xfrm>
              <a:off x="7780387" y="3827227"/>
              <a:ext cx="54645" cy="133392"/>
            </a:xfrm>
            <a:custGeom>
              <a:avLst/>
              <a:gdLst/>
              <a:ahLst/>
              <a:cxnLst/>
              <a:rect l="l" t="t" r="r" b="b"/>
              <a:pathLst>
                <a:path w="1705" h="4162" extrusionOk="0">
                  <a:moveTo>
                    <a:pt x="0" y="1"/>
                  </a:moveTo>
                  <a:lnTo>
                    <a:pt x="0" y="1"/>
                  </a:lnTo>
                  <a:cubicBezTo>
                    <a:pt x="67" y="201"/>
                    <a:pt x="168" y="402"/>
                    <a:pt x="268" y="602"/>
                  </a:cubicBezTo>
                  <a:cubicBezTo>
                    <a:pt x="452" y="970"/>
                    <a:pt x="685" y="1471"/>
                    <a:pt x="919" y="2056"/>
                  </a:cubicBezTo>
                  <a:cubicBezTo>
                    <a:pt x="1153" y="2624"/>
                    <a:pt x="1337" y="3159"/>
                    <a:pt x="1471" y="3543"/>
                  </a:cubicBezTo>
                  <a:cubicBezTo>
                    <a:pt x="1521" y="3760"/>
                    <a:pt x="1604" y="3961"/>
                    <a:pt x="1705" y="4161"/>
                  </a:cubicBezTo>
                  <a:cubicBezTo>
                    <a:pt x="1688" y="3944"/>
                    <a:pt x="1638" y="3727"/>
                    <a:pt x="1571" y="3510"/>
                  </a:cubicBezTo>
                  <a:cubicBezTo>
                    <a:pt x="1287" y="2490"/>
                    <a:pt x="869" y="1488"/>
                    <a:pt x="351" y="552"/>
                  </a:cubicBezTo>
                  <a:cubicBezTo>
                    <a:pt x="268" y="352"/>
                    <a:pt x="134" y="168"/>
                    <a:pt x="0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3" name="Google Shape;713;p25"/>
            <p:cNvSpPr/>
            <p:nvPr/>
          </p:nvSpPr>
          <p:spPr>
            <a:xfrm>
              <a:off x="7800193" y="2062201"/>
              <a:ext cx="842402" cy="398446"/>
            </a:xfrm>
            <a:custGeom>
              <a:avLst/>
              <a:gdLst/>
              <a:ahLst/>
              <a:cxnLst/>
              <a:rect l="l" t="t" r="r" b="b"/>
              <a:pathLst>
                <a:path w="26284" h="12432" extrusionOk="0">
                  <a:moveTo>
                    <a:pt x="235" y="1"/>
                  </a:moveTo>
                  <a:lnTo>
                    <a:pt x="1" y="502"/>
                  </a:lnTo>
                  <a:lnTo>
                    <a:pt x="26049" y="12432"/>
                  </a:lnTo>
                  <a:lnTo>
                    <a:pt x="26283" y="11947"/>
                  </a:lnTo>
                  <a:lnTo>
                    <a:pt x="235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4" name="Google Shape;714;p25"/>
            <p:cNvSpPr/>
            <p:nvPr/>
          </p:nvSpPr>
          <p:spPr>
            <a:xfrm>
              <a:off x="8429431" y="2361003"/>
              <a:ext cx="17692" cy="2295774"/>
            </a:xfrm>
            <a:custGeom>
              <a:avLst/>
              <a:gdLst/>
              <a:ahLst/>
              <a:cxnLst/>
              <a:rect l="l" t="t" r="r" b="b"/>
              <a:pathLst>
                <a:path w="552" h="71631" extrusionOk="0">
                  <a:moveTo>
                    <a:pt x="0" y="1"/>
                  </a:moveTo>
                  <a:lnTo>
                    <a:pt x="0" y="71630"/>
                  </a:lnTo>
                  <a:lnTo>
                    <a:pt x="552" y="71630"/>
                  </a:lnTo>
                  <a:lnTo>
                    <a:pt x="552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5" name="Google Shape;715;p25"/>
            <p:cNvSpPr/>
            <p:nvPr/>
          </p:nvSpPr>
          <p:spPr>
            <a:xfrm>
              <a:off x="8417092" y="2967742"/>
              <a:ext cx="45575" cy="308481"/>
            </a:xfrm>
            <a:custGeom>
              <a:avLst/>
              <a:gdLst/>
              <a:ahLst/>
              <a:cxnLst/>
              <a:rect l="l" t="t" r="r" b="b"/>
              <a:pathLst>
                <a:path w="1422" h="9625" extrusionOk="0">
                  <a:moveTo>
                    <a:pt x="636" y="1"/>
                  </a:moveTo>
                  <a:cubicBezTo>
                    <a:pt x="285" y="1"/>
                    <a:pt x="1" y="285"/>
                    <a:pt x="1" y="636"/>
                  </a:cubicBezTo>
                  <a:lnTo>
                    <a:pt x="1" y="8990"/>
                  </a:lnTo>
                  <a:cubicBezTo>
                    <a:pt x="1" y="9341"/>
                    <a:pt x="285" y="9625"/>
                    <a:pt x="636" y="9625"/>
                  </a:cubicBezTo>
                  <a:lnTo>
                    <a:pt x="786" y="9625"/>
                  </a:lnTo>
                  <a:cubicBezTo>
                    <a:pt x="1137" y="9625"/>
                    <a:pt x="1421" y="9341"/>
                    <a:pt x="1421" y="8990"/>
                  </a:cubicBezTo>
                  <a:lnTo>
                    <a:pt x="1421" y="636"/>
                  </a:lnTo>
                  <a:cubicBezTo>
                    <a:pt x="1421" y="285"/>
                    <a:pt x="1137" y="1"/>
                    <a:pt x="786" y="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6" name="Google Shape;716;p25"/>
            <p:cNvSpPr/>
            <p:nvPr/>
          </p:nvSpPr>
          <p:spPr>
            <a:xfrm>
              <a:off x="7696832" y="1980730"/>
              <a:ext cx="143039" cy="128617"/>
            </a:xfrm>
            <a:custGeom>
              <a:avLst/>
              <a:gdLst/>
              <a:ahLst/>
              <a:cxnLst/>
              <a:rect l="l" t="t" r="r" b="b"/>
              <a:pathLst>
                <a:path w="4463" h="4013" extrusionOk="0">
                  <a:moveTo>
                    <a:pt x="2365" y="1"/>
                  </a:moveTo>
                  <a:cubicBezTo>
                    <a:pt x="1759" y="1"/>
                    <a:pt x="1166" y="297"/>
                    <a:pt x="820" y="838"/>
                  </a:cubicBezTo>
                  <a:lnTo>
                    <a:pt x="1" y="2125"/>
                  </a:lnTo>
                  <a:lnTo>
                    <a:pt x="3242" y="4013"/>
                  </a:lnTo>
                  <a:lnTo>
                    <a:pt x="3961" y="2760"/>
                  </a:lnTo>
                  <a:cubicBezTo>
                    <a:pt x="4462" y="1891"/>
                    <a:pt x="4178" y="788"/>
                    <a:pt x="3326" y="270"/>
                  </a:cubicBezTo>
                  <a:cubicBezTo>
                    <a:pt x="3026" y="88"/>
                    <a:pt x="2693" y="1"/>
                    <a:pt x="2365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7" name="Google Shape;717;p25"/>
            <p:cNvSpPr/>
            <p:nvPr/>
          </p:nvSpPr>
          <p:spPr>
            <a:xfrm>
              <a:off x="7433894" y="2048804"/>
              <a:ext cx="428989" cy="324570"/>
            </a:xfrm>
            <a:custGeom>
              <a:avLst/>
              <a:gdLst/>
              <a:ahLst/>
              <a:cxnLst/>
              <a:rect l="l" t="t" r="r" b="b"/>
              <a:pathLst>
                <a:path w="13385" h="10127" extrusionOk="0">
                  <a:moveTo>
                    <a:pt x="8205" y="1"/>
                  </a:moveTo>
                  <a:lnTo>
                    <a:pt x="1" y="2541"/>
                  </a:lnTo>
                  <a:lnTo>
                    <a:pt x="13385" y="10126"/>
                  </a:lnTo>
                  <a:lnTo>
                    <a:pt x="11547" y="1388"/>
                  </a:lnTo>
                  <a:lnTo>
                    <a:pt x="8205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8" name="Google Shape;718;p25"/>
            <p:cNvSpPr/>
            <p:nvPr/>
          </p:nvSpPr>
          <p:spPr>
            <a:xfrm>
              <a:off x="7392133" y="2122423"/>
              <a:ext cx="494307" cy="283354"/>
            </a:xfrm>
            <a:custGeom>
              <a:avLst/>
              <a:gdLst/>
              <a:ahLst/>
              <a:cxnLst/>
              <a:rect l="l" t="t" r="r" b="b"/>
              <a:pathLst>
                <a:path w="15423" h="8841" extrusionOk="0">
                  <a:moveTo>
                    <a:pt x="2252" y="1"/>
                  </a:moveTo>
                  <a:cubicBezTo>
                    <a:pt x="1456" y="1"/>
                    <a:pt x="893" y="198"/>
                    <a:pt x="669" y="611"/>
                  </a:cubicBezTo>
                  <a:cubicBezTo>
                    <a:pt x="1" y="1848"/>
                    <a:pt x="2607" y="4554"/>
                    <a:pt x="6500" y="6660"/>
                  </a:cubicBezTo>
                  <a:cubicBezTo>
                    <a:pt x="9092" y="8061"/>
                    <a:pt x="11594" y="8840"/>
                    <a:pt x="13175" y="8840"/>
                  </a:cubicBezTo>
                  <a:cubicBezTo>
                    <a:pt x="13969" y="8840"/>
                    <a:pt x="14531" y="8644"/>
                    <a:pt x="14754" y="8230"/>
                  </a:cubicBezTo>
                  <a:cubicBezTo>
                    <a:pt x="15423" y="6994"/>
                    <a:pt x="12816" y="4287"/>
                    <a:pt x="8923" y="2182"/>
                  </a:cubicBezTo>
                  <a:cubicBezTo>
                    <a:pt x="6343" y="780"/>
                    <a:pt x="3837" y="1"/>
                    <a:pt x="2252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9" name="Google Shape;719;p25"/>
            <p:cNvSpPr/>
            <p:nvPr/>
          </p:nvSpPr>
          <p:spPr>
            <a:xfrm>
              <a:off x="8186845" y="4588222"/>
              <a:ext cx="495910" cy="68555"/>
            </a:xfrm>
            <a:custGeom>
              <a:avLst/>
              <a:gdLst/>
              <a:ahLst/>
              <a:cxnLst/>
              <a:rect l="l" t="t" r="r" b="b"/>
              <a:pathLst>
                <a:path w="15473" h="2139" extrusionOk="0">
                  <a:moveTo>
                    <a:pt x="7073" y="0"/>
                  </a:moveTo>
                  <a:cubicBezTo>
                    <a:pt x="2093" y="0"/>
                    <a:pt x="0" y="2138"/>
                    <a:pt x="0" y="2138"/>
                  </a:cubicBezTo>
                  <a:lnTo>
                    <a:pt x="15472" y="2138"/>
                  </a:lnTo>
                  <a:cubicBezTo>
                    <a:pt x="15472" y="2138"/>
                    <a:pt x="13384" y="234"/>
                    <a:pt x="7837" y="16"/>
                  </a:cubicBezTo>
                  <a:cubicBezTo>
                    <a:pt x="7575" y="5"/>
                    <a:pt x="7321" y="0"/>
                    <a:pt x="7073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0" name="Google Shape;720;p25"/>
            <p:cNvSpPr/>
            <p:nvPr/>
          </p:nvSpPr>
          <p:spPr>
            <a:xfrm>
              <a:off x="8404240" y="2327799"/>
              <a:ext cx="78779" cy="67049"/>
            </a:xfrm>
            <a:custGeom>
              <a:avLst/>
              <a:gdLst/>
              <a:ahLst/>
              <a:cxnLst/>
              <a:rect l="l" t="t" r="r" b="b"/>
              <a:pathLst>
                <a:path w="2458" h="2092" extrusionOk="0">
                  <a:moveTo>
                    <a:pt x="1054" y="1"/>
                  </a:moveTo>
                  <a:cubicBezTo>
                    <a:pt x="469" y="1"/>
                    <a:pt x="1" y="469"/>
                    <a:pt x="1" y="1037"/>
                  </a:cubicBezTo>
                  <a:cubicBezTo>
                    <a:pt x="1" y="1672"/>
                    <a:pt x="525" y="2092"/>
                    <a:pt x="1070" y="2092"/>
                  </a:cubicBezTo>
                  <a:cubicBezTo>
                    <a:pt x="1328" y="2092"/>
                    <a:pt x="1591" y="1998"/>
                    <a:pt x="1805" y="1789"/>
                  </a:cubicBezTo>
                  <a:cubicBezTo>
                    <a:pt x="2457" y="1120"/>
                    <a:pt x="1989" y="1"/>
                    <a:pt x="1054" y="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1" name="Google Shape;721;p25"/>
            <p:cNvSpPr/>
            <p:nvPr/>
          </p:nvSpPr>
          <p:spPr>
            <a:xfrm>
              <a:off x="7788944" y="1949738"/>
              <a:ext cx="39133" cy="47178"/>
            </a:xfrm>
            <a:custGeom>
              <a:avLst/>
              <a:gdLst/>
              <a:ahLst/>
              <a:cxnLst/>
              <a:rect l="l" t="t" r="r" b="b"/>
              <a:pathLst>
                <a:path w="1221" h="1472" extrusionOk="0">
                  <a:moveTo>
                    <a:pt x="586" y="1"/>
                  </a:moveTo>
                  <a:lnTo>
                    <a:pt x="1" y="1304"/>
                  </a:lnTo>
                  <a:lnTo>
                    <a:pt x="485" y="1471"/>
                  </a:lnTo>
                  <a:lnTo>
                    <a:pt x="1220" y="235"/>
                  </a:lnTo>
                  <a:lnTo>
                    <a:pt x="586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2" name="Google Shape;722;p25"/>
            <p:cNvSpPr/>
            <p:nvPr/>
          </p:nvSpPr>
          <p:spPr>
            <a:xfrm>
              <a:off x="7696319" y="2045054"/>
              <a:ext cx="113008" cy="53620"/>
            </a:xfrm>
            <a:custGeom>
              <a:avLst/>
              <a:gdLst/>
              <a:ahLst/>
              <a:cxnLst/>
              <a:rect l="l" t="t" r="r" b="b"/>
              <a:pathLst>
                <a:path w="3526" h="1673" extrusionOk="0">
                  <a:moveTo>
                    <a:pt x="389" y="0"/>
                  </a:moveTo>
                  <a:cubicBezTo>
                    <a:pt x="261" y="0"/>
                    <a:pt x="136" y="19"/>
                    <a:pt x="17" y="51"/>
                  </a:cubicBezTo>
                  <a:cubicBezTo>
                    <a:pt x="0" y="101"/>
                    <a:pt x="936" y="34"/>
                    <a:pt x="1938" y="502"/>
                  </a:cubicBezTo>
                  <a:cubicBezTo>
                    <a:pt x="2919" y="960"/>
                    <a:pt x="3468" y="1673"/>
                    <a:pt x="3523" y="1673"/>
                  </a:cubicBezTo>
                  <a:cubicBezTo>
                    <a:pt x="3524" y="1673"/>
                    <a:pt x="3525" y="1672"/>
                    <a:pt x="3526" y="1672"/>
                  </a:cubicBezTo>
                  <a:cubicBezTo>
                    <a:pt x="3442" y="1488"/>
                    <a:pt x="3308" y="1338"/>
                    <a:pt x="3158" y="1204"/>
                  </a:cubicBezTo>
                  <a:cubicBezTo>
                    <a:pt x="2473" y="519"/>
                    <a:pt x="1571" y="84"/>
                    <a:pt x="602" y="18"/>
                  </a:cubicBezTo>
                  <a:cubicBezTo>
                    <a:pt x="531" y="6"/>
                    <a:pt x="460" y="0"/>
                    <a:pt x="38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3" name="Google Shape;723;p25"/>
            <p:cNvSpPr/>
            <p:nvPr/>
          </p:nvSpPr>
          <p:spPr>
            <a:xfrm>
              <a:off x="7569401" y="2185914"/>
              <a:ext cx="140315" cy="146757"/>
            </a:xfrm>
            <a:custGeom>
              <a:avLst/>
              <a:gdLst/>
              <a:ahLst/>
              <a:cxnLst/>
              <a:rect l="l" t="t" r="r" b="b"/>
              <a:pathLst>
                <a:path w="4378" h="4579" extrusionOk="0">
                  <a:moveTo>
                    <a:pt x="3025" y="0"/>
                  </a:moveTo>
                  <a:lnTo>
                    <a:pt x="936" y="1220"/>
                  </a:lnTo>
                  <a:cubicBezTo>
                    <a:pt x="719" y="1354"/>
                    <a:pt x="552" y="1537"/>
                    <a:pt x="435" y="1755"/>
                  </a:cubicBezTo>
                  <a:cubicBezTo>
                    <a:pt x="167" y="2289"/>
                    <a:pt x="0" y="3258"/>
                    <a:pt x="1654" y="4127"/>
                  </a:cubicBezTo>
                  <a:cubicBezTo>
                    <a:pt x="2285" y="4457"/>
                    <a:pt x="2770" y="4579"/>
                    <a:pt x="3144" y="4579"/>
                  </a:cubicBezTo>
                  <a:cubicBezTo>
                    <a:pt x="3603" y="4579"/>
                    <a:pt x="3893" y="4397"/>
                    <a:pt x="4077" y="4194"/>
                  </a:cubicBezTo>
                  <a:cubicBezTo>
                    <a:pt x="4278" y="3960"/>
                    <a:pt x="4378" y="3659"/>
                    <a:pt x="4361" y="3359"/>
                  </a:cubicBezTo>
                  <a:lnTo>
                    <a:pt x="4361" y="752"/>
                  </a:lnTo>
                  <a:lnTo>
                    <a:pt x="3025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4" name="Google Shape;724;p25"/>
            <p:cNvSpPr/>
            <p:nvPr/>
          </p:nvSpPr>
          <p:spPr>
            <a:xfrm>
              <a:off x="7624015" y="2195016"/>
              <a:ext cx="73939" cy="89996"/>
            </a:xfrm>
            <a:custGeom>
              <a:avLst/>
              <a:gdLst/>
              <a:ahLst/>
              <a:cxnLst/>
              <a:rect l="l" t="t" r="r" b="b"/>
              <a:pathLst>
                <a:path w="2307" h="2808" extrusionOk="0">
                  <a:moveTo>
                    <a:pt x="351" y="1471"/>
                  </a:moveTo>
                  <a:cubicBezTo>
                    <a:pt x="485" y="1471"/>
                    <a:pt x="602" y="1504"/>
                    <a:pt x="719" y="1554"/>
                  </a:cubicBezTo>
                  <a:cubicBezTo>
                    <a:pt x="758" y="1574"/>
                    <a:pt x="797" y="1593"/>
                    <a:pt x="836" y="1613"/>
                  </a:cubicBezTo>
                  <a:lnTo>
                    <a:pt x="836" y="1613"/>
                  </a:lnTo>
                  <a:cubicBezTo>
                    <a:pt x="830" y="1621"/>
                    <a:pt x="825" y="1629"/>
                    <a:pt x="819" y="1638"/>
                  </a:cubicBezTo>
                  <a:cubicBezTo>
                    <a:pt x="752" y="1721"/>
                    <a:pt x="686" y="1805"/>
                    <a:pt x="585" y="1872"/>
                  </a:cubicBezTo>
                  <a:cubicBezTo>
                    <a:pt x="540" y="1929"/>
                    <a:pt x="471" y="1955"/>
                    <a:pt x="399" y="1955"/>
                  </a:cubicBezTo>
                  <a:cubicBezTo>
                    <a:pt x="366" y="1955"/>
                    <a:pt x="333" y="1949"/>
                    <a:pt x="301" y="1938"/>
                  </a:cubicBezTo>
                  <a:cubicBezTo>
                    <a:pt x="67" y="1855"/>
                    <a:pt x="101" y="1504"/>
                    <a:pt x="351" y="1471"/>
                  </a:cubicBezTo>
                  <a:close/>
                  <a:moveTo>
                    <a:pt x="1410" y="1962"/>
                  </a:moveTo>
                  <a:cubicBezTo>
                    <a:pt x="1430" y="1976"/>
                    <a:pt x="1451" y="1991"/>
                    <a:pt x="1471" y="2005"/>
                  </a:cubicBezTo>
                  <a:cubicBezTo>
                    <a:pt x="1588" y="2089"/>
                    <a:pt x="1688" y="2172"/>
                    <a:pt x="1671" y="2289"/>
                  </a:cubicBezTo>
                  <a:cubicBezTo>
                    <a:pt x="1655" y="2406"/>
                    <a:pt x="1605" y="2523"/>
                    <a:pt x="1521" y="2624"/>
                  </a:cubicBezTo>
                  <a:cubicBezTo>
                    <a:pt x="1494" y="2657"/>
                    <a:pt x="1462" y="2672"/>
                    <a:pt x="1428" y="2672"/>
                  </a:cubicBezTo>
                  <a:cubicBezTo>
                    <a:pt x="1379" y="2672"/>
                    <a:pt x="1327" y="2640"/>
                    <a:pt x="1287" y="2590"/>
                  </a:cubicBezTo>
                  <a:cubicBezTo>
                    <a:pt x="1220" y="2507"/>
                    <a:pt x="1204" y="2390"/>
                    <a:pt x="1254" y="2289"/>
                  </a:cubicBezTo>
                  <a:cubicBezTo>
                    <a:pt x="1287" y="2172"/>
                    <a:pt x="1354" y="2072"/>
                    <a:pt x="1404" y="1972"/>
                  </a:cubicBezTo>
                  <a:cubicBezTo>
                    <a:pt x="1406" y="1969"/>
                    <a:pt x="1408" y="1965"/>
                    <a:pt x="1410" y="1962"/>
                  </a:cubicBezTo>
                  <a:close/>
                  <a:moveTo>
                    <a:pt x="1788" y="0"/>
                  </a:moveTo>
                  <a:cubicBezTo>
                    <a:pt x="1722" y="84"/>
                    <a:pt x="1671" y="184"/>
                    <a:pt x="1638" y="301"/>
                  </a:cubicBezTo>
                  <a:cubicBezTo>
                    <a:pt x="1504" y="568"/>
                    <a:pt x="1337" y="836"/>
                    <a:pt x="1187" y="1103"/>
                  </a:cubicBezTo>
                  <a:cubicBezTo>
                    <a:pt x="1099" y="1229"/>
                    <a:pt x="1011" y="1355"/>
                    <a:pt x="916" y="1495"/>
                  </a:cubicBezTo>
                  <a:lnTo>
                    <a:pt x="916" y="1495"/>
                  </a:lnTo>
                  <a:cubicBezTo>
                    <a:pt x="872" y="1473"/>
                    <a:pt x="829" y="1453"/>
                    <a:pt x="786" y="1437"/>
                  </a:cubicBezTo>
                  <a:cubicBezTo>
                    <a:pt x="661" y="1368"/>
                    <a:pt x="535" y="1333"/>
                    <a:pt x="400" y="1333"/>
                  </a:cubicBezTo>
                  <a:cubicBezTo>
                    <a:pt x="373" y="1333"/>
                    <a:pt x="346" y="1334"/>
                    <a:pt x="318" y="1337"/>
                  </a:cubicBezTo>
                  <a:cubicBezTo>
                    <a:pt x="151" y="1370"/>
                    <a:pt x="17" y="1504"/>
                    <a:pt x="1" y="1688"/>
                  </a:cubicBezTo>
                  <a:cubicBezTo>
                    <a:pt x="1" y="1855"/>
                    <a:pt x="101" y="2005"/>
                    <a:pt x="251" y="2072"/>
                  </a:cubicBezTo>
                  <a:cubicBezTo>
                    <a:pt x="290" y="2081"/>
                    <a:pt x="329" y="2085"/>
                    <a:pt x="367" y="2085"/>
                  </a:cubicBezTo>
                  <a:cubicBezTo>
                    <a:pt x="477" y="2085"/>
                    <a:pt x="582" y="2051"/>
                    <a:pt x="669" y="1989"/>
                  </a:cubicBezTo>
                  <a:cubicBezTo>
                    <a:pt x="769" y="1905"/>
                    <a:pt x="853" y="1805"/>
                    <a:pt x="920" y="1705"/>
                  </a:cubicBezTo>
                  <a:cubicBezTo>
                    <a:pt x="927" y="1693"/>
                    <a:pt x="935" y="1682"/>
                    <a:pt x="942" y="1670"/>
                  </a:cubicBezTo>
                  <a:lnTo>
                    <a:pt x="942" y="1670"/>
                  </a:lnTo>
                  <a:cubicBezTo>
                    <a:pt x="998" y="1702"/>
                    <a:pt x="1052" y="1735"/>
                    <a:pt x="1103" y="1771"/>
                  </a:cubicBezTo>
                  <a:cubicBezTo>
                    <a:pt x="1179" y="1809"/>
                    <a:pt x="1249" y="1852"/>
                    <a:pt x="1317" y="1898"/>
                  </a:cubicBezTo>
                  <a:lnTo>
                    <a:pt x="1317" y="1898"/>
                  </a:lnTo>
                  <a:lnTo>
                    <a:pt x="1304" y="1922"/>
                  </a:lnTo>
                  <a:cubicBezTo>
                    <a:pt x="1237" y="2022"/>
                    <a:pt x="1187" y="2139"/>
                    <a:pt x="1137" y="2239"/>
                  </a:cubicBezTo>
                  <a:cubicBezTo>
                    <a:pt x="1103" y="2306"/>
                    <a:pt x="1103" y="2390"/>
                    <a:pt x="1103" y="2456"/>
                  </a:cubicBezTo>
                  <a:cubicBezTo>
                    <a:pt x="1103" y="2540"/>
                    <a:pt x="1137" y="2607"/>
                    <a:pt x="1170" y="2674"/>
                  </a:cubicBezTo>
                  <a:cubicBezTo>
                    <a:pt x="1220" y="2740"/>
                    <a:pt x="1304" y="2791"/>
                    <a:pt x="1387" y="2807"/>
                  </a:cubicBezTo>
                  <a:cubicBezTo>
                    <a:pt x="1471" y="2807"/>
                    <a:pt x="1554" y="2774"/>
                    <a:pt x="1621" y="2707"/>
                  </a:cubicBezTo>
                  <a:cubicBezTo>
                    <a:pt x="1671" y="2657"/>
                    <a:pt x="1722" y="2590"/>
                    <a:pt x="1738" y="2523"/>
                  </a:cubicBezTo>
                  <a:cubicBezTo>
                    <a:pt x="1772" y="2456"/>
                    <a:pt x="1805" y="2373"/>
                    <a:pt x="1805" y="2289"/>
                  </a:cubicBezTo>
                  <a:cubicBezTo>
                    <a:pt x="1822" y="2206"/>
                    <a:pt x="1788" y="2122"/>
                    <a:pt x="1738" y="2055"/>
                  </a:cubicBezTo>
                  <a:cubicBezTo>
                    <a:pt x="1671" y="1989"/>
                    <a:pt x="1621" y="1938"/>
                    <a:pt x="1554" y="1888"/>
                  </a:cubicBezTo>
                  <a:cubicBezTo>
                    <a:pt x="1531" y="1871"/>
                    <a:pt x="1506" y="1854"/>
                    <a:pt x="1482" y="1838"/>
                  </a:cubicBezTo>
                  <a:lnTo>
                    <a:pt x="1482" y="1838"/>
                  </a:lnTo>
                  <a:cubicBezTo>
                    <a:pt x="1567" y="1689"/>
                    <a:pt x="1644" y="1550"/>
                    <a:pt x="1722" y="1420"/>
                  </a:cubicBezTo>
                  <a:lnTo>
                    <a:pt x="2156" y="602"/>
                  </a:lnTo>
                  <a:cubicBezTo>
                    <a:pt x="2223" y="502"/>
                    <a:pt x="2273" y="401"/>
                    <a:pt x="2306" y="284"/>
                  </a:cubicBezTo>
                  <a:lnTo>
                    <a:pt x="2306" y="284"/>
                  </a:lnTo>
                  <a:cubicBezTo>
                    <a:pt x="2223" y="368"/>
                    <a:pt x="2156" y="468"/>
                    <a:pt x="2106" y="568"/>
                  </a:cubicBezTo>
                  <a:cubicBezTo>
                    <a:pt x="1972" y="786"/>
                    <a:pt x="1822" y="1053"/>
                    <a:pt x="1621" y="1370"/>
                  </a:cubicBezTo>
                  <a:lnTo>
                    <a:pt x="1388" y="1775"/>
                  </a:lnTo>
                  <a:lnTo>
                    <a:pt x="1388" y="1775"/>
                  </a:lnTo>
                  <a:cubicBezTo>
                    <a:pt x="1320" y="1729"/>
                    <a:pt x="1251" y="1683"/>
                    <a:pt x="1187" y="1638"/>
                  </a:cubicBezTo>
                  <a:cubicBezTo>
                    <a:pt x="1132" y="1610"/>
                    <a:pt x="1077" y="1580"/>
                    <a:pt x="1021" y="1550"/>
                  </a:cubicBezTo>
                  <a:lnTo>
                    <a:pt x="1021" y="1550"/>
                  </a:lnTo>
                  <a:cubicBezTo>
                    <a:pt x="1113" y="1409"/>
                    <a:pt x="1196" y="1276"/>
                    <a:pt x="1270" y="1153"/>
                  </a:cubicBezTo>
                  <a:cubicBezTo>
                    <a:pt x="1421" y="886"/>
                    <a:pt x="1571" y="602"/>
                    <a:pt x="1688" y="318"/>
                  </a:cubicBezTo>
                  <a:cubicBezTo>
                    <a:pt x="1738" y="217"/>
                    <a:pt x="1772" y="101"/>
                    <a:pt x="178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" name="Google Shape;725;p25"/>
            <p:cNvSpPr/>
            <p:nvPr/>
          </p:nvSpPr>
          <p:spPr>
            <a:xfrm>
              <a:off x="6516591" y="4613894"/>
              <a:ext cx="63747" cy="45607"/>
            </a:xfrm>
            <a:custGeom>
              <a:avLst/>
              <a:gdLst/>
              <a:ahLst/>
              <a:cxnLst/>
              <a:rect l="l" t="t" r="r" b="b"/>
              <a:pathLst>
                <a:path w="1989" h="1423" extrusionOk="0">
                  <a:moveTo>
                    <a:pt x="418" y="1"/>
                  </a:moveTo>
                  <a:cubicBezTo>
                    <a:pt x="318" y="1"/>
                    <a:pt x="217" y="1"/>
                    <a:pt x="117" y="17"/>
                  </a:cubicBezTo>
                  <a:cubicBezTo>
                    <a:pt x="84" y="17"/>
                    <a:pt x="34" y="34"/>
                    <a:pt x="0" y="51"/>
                  </a:cubicBezTo>
                  <a:cubicBezTo>
                    <a:pt x="11" y="51"/>
                    <a:pt x="82" y="43"/>
                    <a:pt x="202" y="43"/>
                  </a:cubicBezTo>
                  <a:cubicBezTo>
                    <a:pt x="262" y="43"/>
                    <a:pt x="334" y="45"/>
                    <a:pt x="418" y="51"/>
                  </a:cubicBezTo>
                  <a:cubicBezTo>
                    <a:pt x="735" y="67"/>
                    <a:pt x="1036" y="184"/>
                    <a:pt x="1303" y="368"/>
                  </a:cubicBezTo>
                  <a:cubicBezTo>
                    <a:pt x="1554" y="535"/>
                    <a:pt x="1755" y="786"/>
                    <a:pt x="1872" y="1070"/>
                  </a:cubicBezTo>
                  <a:cubicBezTo>
                    <a:pt x="1951" y="1276"/>
                    <a:pt x="1970" y="1422"/>
                    <a:pt x="1986" y="1422"/>
                  </a:cubicBezTo>
                  <a:cubicBezTo>
                    <a:pt x="1987" y="1422"/>
                    <a:pt x="1988" y="1422"/>
                    <a:pt x="1989" y="1421"/>
                  </a:cubicBezTo>
                  <a:cubicBezTo>
                    <a:pt x="1989" y="1387"/>
                    <a:pt x="1989" y="1354"/>
                    <a:pt x="1989" y="1321"/>
                  </a:cubicBezTo>
                  <a:cubicBezTo>
                    <a:pt x="1972" y="1237"/>
                    <a:pt x="1938" y="1137"/>
                    <a:pt x="1922" y="1053"/>
                  </a:cubicBezTo>
                  <a:cubicBezTo>
                    <a:pt x="1805" y="753"/>
                    <a:pt x="1604" y="502"/>
                    <a:pt x="1337" y="318"/>
                  </a:cubicBezTo>
                  <a:cubicBezTo>
                    <a:pt x="1070" y="134"/>
                    <a:pt x="752" y="17"/>
                    <a:pt x="41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26" name="Google Shape;726;p25"/>
          <p:cNvSpPr txBox="1">
            <a:spLocks noGrp="1"/>
          </p:cNvSpPr>
          <p:nvPr>
            <p:ph type="title"/>
          </p:nvPr>
        </p:nvSpPr>
        <p:spPr>
          <a:xfrm>
            <a:off x="720000" y="540000"/>
            <a:ext cx="7704000" cy="32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7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727" name="Google Shape;727;p25"/>
          <p:cNvSpPr txBox="1">
            <a:spLocks noGrp="1"/>
          </p:cNvSpPr>
          <p:nvPr>
            <p:ph type="subTitle" idx="1"/>
          </p:nvPr>
        </p:nvSpPr>
        <p:spPr>
          <a:xfrm>
            <a:off x="1157675" y="2391276"/>
            <a:ext cx="18369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6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728" name="Google Shape;728;p25"/>
          <p:cNvSpPr txBox="1">
            <a:spLocks noGrp="1"/>
          </p:cNvSpPr>
          <p:nvPr>
            <p:ph type="subTitle" idx="2"/>
          </p:nvPr>
        </p:nvSpPr>
        <p:spPr>
          <a:xfrm>
            <a:off x="1157675" y="2667877"/>
            <a:ext cx="18369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29" name="Google Shape;729;p25"/>
          <p:cNvSpPr txBox="1">
            <a:spLocks noGrp="1"/>
          </p:cNvSpPr>
          <p:nvPr>
            <p:ph type="subTitle" idx="3"/>
          </p:nvPr>
        </p:nvSpPr>
        <p:spPr>
          <a:xfrm>
            <a:off x="3346475" y="2391276"/>
            <a:ext cx="18369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6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730" name="Google Shape;730;p25"/>
          <p:cNvSpPr txBox="1">
            <a:spLocks noGrp="1"/>
          </p:cNvSpPr>
          <p:nvPr>
            <p:ph type="subTitle" idx="4"/>
          </p:nvPr>
        </p:nvSpPr>
        <p:spPr>
          <a:xfrm>
            <a:off x="3346475" y="2667877"/>
            <a:ext cx="18369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31" name="Google Shape;731;p25"/>
          <p:cNvSpPr txBox="1">
            <a:spLocks noGrp="1"/>
          </p:cNvSpPr>
          <p:nvPr>
            <p:ph type="subTitle" idx="5"/>
          </p:nvPr>
        </p:nvSpPr>
        <p:spPr>
          <a:xfrm>
            <a:off x="1157675" y="3360600"/>
            <a:ext cx="18369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6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732" name="Google Shape;732;p25"/>
          <p:cNvSpPr txBox="1">
            <a:spLocks noGrp="1"/>
          </p:cNvSpPr>
          <p:nvPr>
            <p:ph type="subTitle" idx="6"/>
          </p:nvPr>
        </p:nvSpPr>
        <p:spPr>
          <a:xfrm>
            <a:off x="1157675" y="3637201"/>
            <a:ext cx="18369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33" name="Google Shape;733;p25"/>
          <p:cNvSpPr txBox="1">
            <a:spLocks noGrp="1"/>
          </p:cNvSpPr>
          <p:nvPr>
            <p:ph type="subTitle" idx="7"/>
          </p:nvPr>
        </p:nvSpPr>
        <p:spPr>
          <a:xfrm>
            <a:off x="3346475" y="3360600"/>
            <a:ext cx="18369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6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734" name="Google Shape;734;p25"/>
          <p:cNvSpPr txBox="1">
            <a:spLocks noGrp="1"/>
          </p:cNvSpPr>
          <p:nvPr>
            <p:ph type="subTitle" idx="8"/>
          </p:nvPr>
        </p:nvSpPr>
        <p:spPr>
          <a:xfrm>
            <a:off x="3346475" y="3637201"/>
            <a:ext cx="18369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15">
    <p:spTree>
      <p:nvGrpSpPr>
        <p:cNvPr id="1" name="Shape 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2" name="Google Shape;852;p31"/>
          <p:cNvSpPr/>
          <p:nvPr/>
        </p:nvSpPr>
        <p:spPr>
          <a:xfrm>
            <a:off x="-731" y="4672701"/>
            <a:ext cx="9143833" cy="475558"/>
          </a:xfrm>
          <a:custGeom>
            <a:avLst/>
            <a:gdLst/>
            <a:ahLst/>
            <a:cxnLst/>
            <a:rect l="l" t="t" r="r" b="b"/>
            <a:pathLst>
              <a:path w="285299" h="14838" extrusionOk="0">
                <a:moveTo>
                  <a:pt x="0" y="1"/>
                </a:moveTo>
                <a:lnTo>
                  <a:pt x="0" y="14838"/>
                </a:lnTo>
                <a:lnTo>
                  <a:pt x="285299" y="14838"/>
                </a:lnTo>
                <a:lnTo>
                  <a:pt x="285299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/>
          <p:nvPr/>
        </p:nvSpPr>
        <p:spPr>
          <a:xfrm>
            <a:off x="-731" y="4672701"/>
            <a:ext cx="9143833" cy="475558"/>
          </a:xfrm>
          <a:custGeom>
            <a:avLst/>
            <a:gdLst/>
            <a:ahLst/>
            <a:cxnLst/>
            <a:rect l="l" t="t" r="r" b="b"/>
            <a:pathLst>
              <a:path w="285299" h="14838" extrusionOk="0">
                <a:moveTo>
                  <a:pt x="0" y="1"/>
                </a:moveTo>
                <a:lnTo>
                  <a:pt x="0" y="14838"/>
                </a:lnTo>
                <a:lnTo>
                  <a:pt x="285299" y="14838"/>
                </a:lnTo>
                <a:lnTo>
                  <a:pt x="285299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720000" y="2150850"/>
            <a:ext cx="77040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5"/>
          <p:cNvSpPr/>
          <p:nvPr/>
        </p:nvSpPr>
        <p:spPr>
          <a:xfrm>
            <a:off x="-731" y="4672701"/>
            <a:ext cx="9143833" cy="475558"/>
          </a:xfrm>
          <a:custGeom>
            <a:avLst/>
            <a:gdLst/>
            <a:ahLst/>
            <a:cxnLst/>
            <a:rect l="l" t="t" r="r" b="b"/>
            <a:pathLst>
              <a:path w="285299" h="14838" extrusionOk="0">
                <a:moveTo>
                  <a:pt x="0" y="1"/>
                </a:moveTo>
                <a:lnTo>
                  <a:pt x="0" y="14838"/>
                </a:lnTo>
                <a:lnTo>
                  <a:pt x="285299" y="14838"/>
                </a:lnTo>
                <a:lnTo>
                  <a:pt x="285299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21;p5"/>
          <p:cNvSpPr txBox="1">
            <a:spLocks noGrp="1"/>
          </p:cNvSpPr>
          <p:nvPr>
            <p:ph type="body" idx="1"/>
          </p:nvPr>
        </p:nvSpPr>
        <p:spPr>
          <a:xfrm>
            <a:off x="2776200" y="1514400"/>
            <a:ext cx="3591600" cy="115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200"/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2"/>
          </p:nvPr>
        </p:nvSpPr>
        <p:spPr>
          <a:xfrm>
            <a:off x="2776200" y="2937600"/>
            <a:ext cx="3591600" cy="115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200"/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title"/>
          </p:nvPr>
        </p:nvSpPr>
        <p:spPr>
          <a:xfrm>
            <a:off x="720000" y="540000"/>
            <a:ext cx="7704000" cy="32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7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4" name="Google Shape;24;p5"/>
          <p:cNvGrpSpPr/>
          <p:nvPr/>
        </p:nvGrpSpPr>
        <p:grpSpPr>
          <a:xfrm>
            <a:off x="6685382" y="628692"/>
            <a:ext cx="1531897" cy="1110209"/>
            <a:chOff x="6418270" y="761967"/>
            <a:chExt cx="1531897" cy="1110209"/>
          </a:xfrm>
        </p:grpSpPr>
        <p:sp>
          <p:nvSpPr>
            <p:cNvPr id="25" name="Google Shape;25;p5"/>
            <p:cNvSpPr/>
            <p:nvPr/>
          </p:nvSpPr>
          <p:spPr>
            <a:xfrm>
              <a:off x="6671186" y="1121765"/>
              <a:ext cx="134523" cy="286940"/>
            </a:xfrm>
            <a:custGeom>
              <a:avLst/>
              <a:gdLst/>
              <a:ahLst/>
              <a:cxnLst/>
              <a:rect l="l" t="t" r="r" b="b"/>
              <a:pathLst>
                <a:path w="4195" h="8948" extrusionOk="0">
                  <a:moveTo>
                    <a:pt x="192" y="0"/>
                  </a:moveTo>
                  <a:cubicBezTo>
                    <a:pt x="181" y="0"/>
                    <a:pt x="173" y="3"/>
                    <a:pt x="167" y="9"/>
                  </a:cubicBezTo>
                  <a:lnTo>
                    <a:pt x="151" y="9"/>
                  </a:lnTo>
                  <a:cubicBezTo>
                    <a:pt x="0" y="159"/>
                    <a:pt x="1471" y="1830"/>
                    <a:pt x="2523" y="4286"/>
                  </a:cubicBezTo>
                  <a:cubicBezTo>
                    <a:pt x="3605" y="6733"/>
                    <a:pt x="3808" y="8948"/>
                    <a:pt x="4025" y="8948"/>
                  </a:cubicBezTo>
                  <a:cubicBezTo>
                    <a:pt x="4025" y="8948"/>
                    <a:pt x="4026" y="8948"/>
                    <a:pt x="4027" y="8948"/>
                  </a:cubicBezTo>
                  <a:cubicBezTo>
                    <a:pt x="4127" y="8948"/>
                    <a:pt x="4194" y="8380"/>
                    <a:pt x="4111" y="7461"/>
                  </a:cubicBezTo>
                  <a:cubicBezTo>
                    <a:pt x="4060" y="6926"/>
                    <a:pt x="3977" y="6391"/>
                    <a:pt x="3843" y="5873"/>
                  </a:cubicBezTo>
                  <a:cubicBezTo>
                    <a:pt x="3509" y="4587"/>
                    <a:pt x="2991" y="3367"/>
                    <a:pt x="2273" y="2264"/>
                  </a:cubicBezTo>
                  <a:cubicBezTo>
                    <a:pt x="1989" y="1796"/>
                    <a:pt x="1654" y="1379"/>
                    <a:pt x="1304" y="978"/>
                  </a:cubicBezTo>
                  <a:cubicBezTo>
                    <a:pt x="737" y="335"/>
                    <a:pt x="311" y="0"/>
                    <a:pt x="192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5"/>
            <p:cNvSpPr/>
            <p:nvPr/>
          </p:nvSpPr>
          <p:spPr>
            <a:xfrm>
              <a:off x="6784769" y="761967"/>
              <a:ext cx="42361" cy="705677"/>
            </a:xfrm>
            <a:custGeom>
              <a:avLst/>
              <a:gdLst/>
              <a:ahLst/>
              <a:cxnLst/>
              <a:rect l="l" t="t" r="r" b="b"/>
              <a:pathLst>
                <a:path w="1321" h="22006" extrusionOk="0">
                  <a:moveTo>
                    <a:pt x="351" y="0"/>
                  </a:moveTo>
                  <a:cubicBezTo>
                    <a:pt x="251" y="0"/>
                    <a:pt x="151" y="1237"/>
                    <a:pt x="84" y="3242"/>
                  </a:cubicBezTo>
                  <a:cubicBezTo>
                    <a:pt x="34" y="5230"/>
                    <a:pt x="1" y="7987"/>
                    <a:pt x="84" y="11028"/>
                  </a:cubicBezTo>
                  <a:cubicBezTo>
                    <a:pt x="151" y="14086"/>
                    <a:pt x="368" y="16843"/>
                    <a:pt x="602" y="18831"/>
                  </a:cubicBezTo>
                  <a:cubicBezTo>
                    <a:pt x="851" y="20789"/>
                    <a:pt x="1116" y="22006"/>
                    <a:pt x="1218" y="22006"/>
                  </a:cubicBezTo>
                  <a:cubicBezTo>
                    <a:pt x="1219" y="22006"/>
                    <a:pt x="1220" y="22006"/>
                    <a:pt x="1220" y="22006"/>
                  </a:cubicBezTo>
                  <a:cubicBezTo>
                    <a:pt x="1321" y="21989"/>
                    <a:pt x="1237" y="20769"/>
                    <a:pt x="1120" y="18781"/>
                  </a:cubicBezTo>
                  <a:cubicBezTo>
                    <a:pt x="1020" y="16792"/>
                    <a:pt x="886" y="14052"/>
                    <a:pt x="819" y="11011"/>
                  </a:cubicBezTo>
                  <a:cubicBezTo>
                    <a:pt x="736" y="7987"/>
                    <a:pt x="686" y="5230"/>
                    <a:pt x="602" y="3242"/>
                  </a:cubicBezTo>
                  <a:cubicBezTo>
                    <a:pt x="535" y="1237"/>
                    <a:pt x="452" y="0"/>
                    <a:pt x="351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5"/>
            <p:cNvSpPr/>
            <p:nvPr/>
          </p:nvSpPr>
          <p:spPr>
            <a:xfrm>
              <a:off x="6817991" y="912460"/>
              <a:ext cx="151134" cy="513401"/>
            </a:xfrm>
            <a:custGeom>
              <a:avLst/>
              <a:gdLst/>
              <a:ahLst/>
              <a:cxnLst/>
              <a:rect l="l" t="t" r="r" b="b"/>
              <a:pathLst>
                <a:path w="4713" h="16010" extrusionOk="0">
                  <a:moveTo>
                    <a:pt x="4620" y="0"/>
                  </a:moveTo>
                  <a:cubicBezTo>
                    <a:pt x="4511" y="0"/>
                    <a:pt x="3974" y="764"/>
                    <a:pt x="3342" y="2108"/>
                  </a:cubicBezTo>
                  <a:cubicBezTo>
                    <a:pt x="2540" y="3929"/>
                    <a:pt x="1872" y="5800"/>
                    <a:pt x="1354" y="7705"/>
                  </a:cubicBezTo>
                  <a:cubicBezTo>
                    <a:pt x="819" y="9627"/>
                    <a:pt x="418" y="11565"/>
                    <a:pt x="184" y="13536"/>
                  </a:cubicBezTo>
                  <a:cubicBezTo>
                    <a:pt x="0" y="15057"/>
                    <a:pt x="84" y="16009"/>
                    <a:pt x="184" y="16009"/>
                  </a:cubicBezTo>
                  <a:cubicBezTo>
                    <a:pt x="285" y="16009"/>
                    <a:pt x="385" y="15090"/>
                    <a:pt x="686" y="13620"/>
                  </a:cubicBezTo>
                  <a:cubicBezTo>
                    <a:pt x="986" y="12133"/>
                    <a:pt x="1454" y="10111"/>
                    <a:pt x="2072" y="7906"/>
                  </a:cubicBezTo>
                  <a:cubicBezTo>
                    <a:pt x="2691" y="5700"/>
                    <a:pt x="3309" y="3729"/>
                    <a:pt x="3827" y="2308"/>
                  </a:cubicBezTo>
                  <a:cubicBezTo>
                    <a:pt x="4328" y="905"/>
                    <a:pt x="4712" y="53"/>
                    <a:pt x="4629" y="3"/>
                  </a:cubicBezTo>
                  <a:cubicBezTo>
                    <a:pt x="4626" y="1"/>
                    <a:pt x="4623" y="0"/>
                    <a:pt x="4620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8;p5"/>
            <p:cNvSpPr/>
            <p:nvPr/>
          </p:nvSpPr>
          <p:spPr>
            <a:xfrm>
              <a:off x="6640113" y="1386706"/>
              <a:ext cx="332219" cy="243296"/>
            </a:xfrm>
            <a:custGeom>
              <a:avLst/>
              <a:gdLst/>
              <a:ahLst/>
              <a:cxnLst/>
              <a:rect l="l" t="t" r="r" b="b"/>
              <a:pathLst>
                <a:path w="10360" h="7587" extrusionOk="0">
                  <a:moveTo>
                    <a:pt x="0" y="1"/>
                  </a:moveTo>
                  <a:lnTo>
                    <a:pt x="0" y="2423"/>
                  </a:lnTo>
                  <a:cubicBezTo>
                    <a:pt x="0" y="5280"/>
                    <a:pt x="2323" y="7586"/>
                    <a:pt x="5180" y="7586"/>
                  </a:cubicBezTo>
                  <a:cubicBezTo>
                    <a:pt x="8037" y="7586"/>
                    <a:pt x="10360" y="5280"/>
                    <a:pt x="10360" y="2423"/>
                  </a:cubicBezTo>
                  <a:lnTo>
                    <a:pt x="1036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29;p5"/>
            <p:cNvSpPr/>
            <p:nvPr/>
          </p:nvSpPr>
          <p:spPr>
            <a:xfrm>
              <a:off x="6640113" y="1449943"/>
              <a:ext cx="334913" cy="4842"/>
            </a:xfrm>
            <a:custGeom>
              <a:avLst/>
              <a:gdLst/>
              <a:ahLst/>
              <a:cxnLst/>
              <a:rect l="l" t="t" r="r" b="b"/>
              <a:pathLst>
                <a:path w="10444" h="151" extrusionOk="0">
                  <a:moveTo>
                    <a:pt x="5230" y="0"/>
                  </a:moveTo>
                  <a:cubicBezTo>
                    <a:pt x="2339" y="0"/>
                    <a:pt x="0" y="34"/>
                    <a:pt x="0" y="67"/>
                  </a:cubicBezTo>
                  <a:cubicBezTo>
                    <a:pt x="0" y="117"/>
                    <a:pt x="2339" y="151"/>
                    <a:pt x="5230" y="151"/>
                  </a:cubicBezTo>
                  <a:cubicBezTo>
                    <a:pt x="8104" y="151"/>
                    <a:pt x="10443" y="117"/>
                    <a:pt x="10443" y="67"/>
                  </a:cubicBezTo>
                  <a:cubicBezTo>
                    <a:pt x="10443" y="34"/>
                    <a:pt x="8104" y="0"/>
                    <a:pt x="523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5"/>
            <p:cNvSpPr/>
            <p:nvPr/>
          </p:nvSpPr>
          <p:spPr>
            <a:xfrm>
              <a:off x="6640113" y="1471365"/>
              <a:ext cx="334913" cy="4842"/>
            </a:xfrm>
            <a:custGeom>
              <a:avLst/>
              <a:gdLst/>
              <a:ahLst/>
              <a:cxnLst/>
              <a:rect l="l" t="t" r="r" b="b"/>
              <a:pathLst>
                <a:path w="10444" h="151" extrusionOk="0">
                  <a:moveTo>
                    <a:pt x="5230" y="1"/>
                  </a:moveTo>
                  <a:cubicBezTo>
                    <a:pt x="2339" y="1"/>
                    <a:pt x="0" y="34"/>
                    <a:pt x="0" y="84"/>
                  </a:cubicBezTo>
                  <a:cubicBezTo>
                    <a:pt x="0" y="117"/>
                    <a:pt x="2339" y="151"/>
                    <a:pt x="5230" y="151"/>
                  </a:cubicBezTo>
                  <a:cubicBezTo>
                    <a:pt x="8104" y="151"/>
                    <a:pt x="10443" y="117"/>
                    <a:pt x="10443" y="84"/>
                  </a:cubicBezTo>
                  <a:cubicBezTo>
                    <a:pt x="10443" y="34"/>
                    <a:pt x="8104" y="1"/>
                    <a:pt x="523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5"/>
            <p:cNvSpPr/>
            <p:nvPr/>
          </p:nvSpPr>
          <p:spPr>
            <a:xfrm>
              <a:off x="6418270" y="1629970"/>
              <a:ext cx="1531897" cy="88955"/>
            </a:xfrm>
            <a:custGeom>
              <a:avLst/>
              <a:gdLst/>
              <a:ahLst/>
              <a:cxnLst/>
              <a:rect l="l" t="t" r="r" b="b"/>
              <a:pathLst>
                <a:path w="47771" h="2774" extrusionOk="0">
                  <a:moveTo>
                    <a:pt x="1" y="0"/>
                  </a:moveTo>
                  <a:lnTo>
                    <a:pt x="1" y="2774"/>
                  </a:lnTo>
                  <a:lnTo>
                    <a:pt x="47771" y="2774"/>
                  </a:lnTo>
                  <a:lnTo>
                    <a:pt x="47771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5"/>
            <p:cNvSpPr/>
            <p:nvPr/>
          </p:nvSpPr>
          <p:spPr>
            <a:xfrm>
              <a:off x="6708673" y="1718894"/>
              <a:ext cx="50955" cy="153283"/>
            </a:xfrm>
            <a:custGeom>
              <a:avLst/>
              <a:gdLst/>
              <a:ahLst/>
              <a:cxnLst/>
              <a:rect l="l" t="t" r="r" b="b"/>
              <a:pathLst>
                <a:path w="1589" h="4780" extrusionOk="0">
                  <a:moveTo>
                    <a:pt x="1" y="1"/>
                  </a:moveTo>
                  <a:lnTo>
                    <a:pt x="1" y="4779"/>
                  </a:lnTo>
                  <a:lnTo>
                    <a:pt x="1588" y="4779"/>
                  </a:lnTo>
                  <a:lnTo>
                    <a:pt x="1588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33;p5"/>
            <p:cNvSpPr/>
            <p:nvPr/>
          </p:nvSpPr>
          <p:spPr>
            <a:xfrm>
              <a:off x="7548809" y="1718894"/>
              <a:ext cx="50955" cy="153283"/>
            </a:xfrm>
            <a:custGeom>
              <a:avLst/>
              <a:gdLst/>
              <a:ahLst/>
              <a:cxnLst/>
              <a:rect l="l" t="t" r="r" b="b"/>
              <a:pathLst>
                <a:path w="1589" h="4780" extrusionOk="0">
                  <a:moveTo>
                    <a:pt x="1" y="1"/>
                  </a:moveTo>
                  <a:lnTo>
                    <a:pt x="1" y="4779"/>
                  </a:lnTo>
                  <a:lnTo>
                    <a:pt x="1588" y="4779"/>
                  </a:lnTo>
                  <a:lnTo>
                    <a:pt x="1588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34;p5"/>
            <p:cNvSpPr/>
            <p:nvPr/>
          </p:nvSpPr>
          <p:spPr>
            <a:xfrm>
              <a:off x="7258951" y="1305800"/>
              <a:ext cx="481718" cy="322054"/>
            </a:xfrm>
            <a:custGeom>
              <a:avLst/>
              <a:gdLst/>
              <a:ahLst/>
              <a:cxnLst/>
              <a:rect l="l" t="t" r="r" b="b"/>
              <a:pathLst>
                <a:path w="15022" h="10043" extrusionOk="0">
                  <a:moveTo>
                    <a:pt x="1087" y="1"/>
                  </a:moveTo>
                  <a:lnTo>
                    <a:pt x="1" y="10042"/>
                  </a:lnTo>
                  <a:lnTo>
                    <a:pt x="13869" y="10042"/>
                  </a:lnTo>
                  <a:lnTo>
                    <a:pt x="15022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35;p5"/>
            <p:cNvSpPr/>
            <p:nvPr/>
          </p:nvSpPr>
          <p:spPr>
            <a:xfrm>
              <a:off x="7278256" y="1329370"/>
              <a:ext cx="433488" cy="281328"/>
            </a:xfrm>
            <a:custGeom>
              <a:avLst/>
              <a:gdLst/>
              <a:ahLst/>
              <a:cxnLst/>
              <a:rect l="l" t="t" r="r" b="b"/>
              <a:pathLst>
                <a:path w="13518" h="8773" extrusionOk="0">
                  <a:moveTo>
                    <a:pt x="1053" y="1"/>
                  </a:moveTo>
                  <a:lnTo>
                    <a:pt x="0" y="8773"/>
                  </a:lnTo>
                  <a:lnTo>
                    <a:pt x="12515" y="8773"/>
                  </a:lnTo>
                  <a:lnTo>
                    <a:pt x="13517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36;p5"/>
            <p:cNvSpPr/>
            <p:nvPr/>
          </p:nvSpPr>
          <p:spPr>
            <a:xfrm>
              <a:off x="7358617" y="1376541"/>
              <a:ext cx="266321" cy="187018"/>
            </a:xfrm>
            <a:custGeom>
              <a:avLst/>
              <a:gdLst/>
              <a:ahLst/>
              <a:cxnLst/>
              <a:rect l="l" t="t" r="r" b="b"/>
              <a:pathLst>
                <a:path w="8305" h="5832" extrusionOk="0">
                  <a:moveTo>
                    <a:pt x="652" y="0"/>
                  </a:moveTo>
                  <a:lnTo>
                    <a:pt x="0" y="5831"/>
                  </a:lnTo>
                  <a:lnTo>
                    <a:pt x="7904" y="5831"/>
                  </a:lnTo>
                  <a:lnTo>
                    <a:pt x="8305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5"/>
            <p:cNvSpPr/>
            <p:nvPr/>
          </p:nvSpPr>
          <p:spPr>
            <a:xfrm>
              <a:off x="7703663" y="1432787"/>
              <a:ext cx="112557" cy="196670"/>
            </a:xfrm>
            <a:custGeom>
              <a:avLst/>
              <a:gdLst/>
              <a:ahLst/>
              <a:cxnLst/>
              <a:rect l="l" t="t" r="r" b="b"/>
              <a:pathLst>
                <a:path w="3510" h="6133" extrusionOk="0">
                  <a:moveTo>
                    <a:pt x="686" y="0"/>
                  </a:moveTo>
                  <a:lnTo>
                    <a:pt x="1" y="6082"/>
                  </a:lnTo>
                  <a:lnTo>
                    <a:pt x="3510" y="6133"/>
                  </a:lnTo>
                  <a:lnTo>
                    <a:pt x="652" y="368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8" name="Google Shape;38;p5"/>
          <p:cNvGrpSpPr/>
          <p:nvPr/>
        </p:nvGrpSpPr>
        <p:grpSpPr>
          <a:xfrm>
            <a:off x="444493" y="717090"/>
            <a:ext cx="1721576" cy="1153083"/>
            <a:chOff x="735556" y="934490"/>
            <a:chExt cx="1721576" cy="1153083"/>
          </a:xfrm>
        </p:grpSpPr>
        <p:sp>
          <p:nvSpPr>
            <p:cNvPr id="39" name="Google Shape;39;p5"/>
            <p:cNvSpPr/>
            <p:nvPr/>
          </p:nvSpPr>
          <p:spPr>
            <a:xfrm>
              <a:off x="735556" y="1437084"/>
              <a:ext cx="990212" cy="650489"/>
            </a:xfrm>
            <a:custGeom>
              <a:avLst/>
              <a:gdLst/>
              <a:ahLst/>
              <a:cxnLst/>
              <a:rect l="l" t="t" r="r" b="b"/>
              <a:pathLst>
                <a:path w="30879" h="20285" extrusionOk="0">
                  <a:moveTo>
                    <a:pt x="1" y="0"/>
                  </a:moveTo>
                  <a:lnTo>
                    <a:pt x="1" y="20284"/>
                  </a:lnTo>
                  <a:lnTo>
                    <a:pt x="30878" y="20284"/>
                  </a:lnTo>
                  <a:lnTo>
                    <a:pt x="30878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40;p5"/>
            <p:cNvSpPr/>
            <p:nvPr/>
          </p:nvSpPr>
          <p:spPr>
            <a:xfrm>
              <a:off x="770381" y="1463316"/>
              <a:ext cx="920562" cy="595333"/>
            </a:xfrm>
            <a:custGeom>
              <a:avLst/>
              <a:gdLst/>
              <a:ahLst/>
              <a:cxnLst/>
              <a:rect l="l" t="t" r="r" b="b"/>
              <a:pathLst>
                <a:path w="28707" h="18565" extrusionOk="0">
                  <a:moveTo>
                    <a:pt x="1" y="1"/>
                  </a:moveTo>
                  <a:lnTo>
                    <a:pt x="1" y="18564"/>
                  </a:lnTo>
                  <a:lnTo>
                    <a:pt x="28706" y="18564"/>
                  </a:lnTo>
                  <a:lnTo>
                    <a:pt x="28706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41;p5"/>
            <p:cNvSpPr/>
            <p:nvPr/>
          </p:nvSpPr>
          <p:spPr>
            <a:xfrm>
              <a:off x="1080634" y="1680316"/>
              <a:ext cx="300056" cy="163993"/>
            </a:xfrm>
            <a:custGeom>
              <a:avLst/>
              <a:gdLst/>
              <a:ahLst/>
              <a:cxnLst/>
              <a:rect l="l" t="t" r="r" b="b"/>
              <a:pathLst>
                <a:path w="9357" h="5114" extrusionOk="0">
                  <a:moveTo>
                    <a:pt x="0" y="1"/>
                  </a:moveTo>
                  <a:lnTo>
                    <a:pt x="0" y="5114"/>
                  </a:lnTo>
                  <a:lnTo>
                    <a:pt x="9357" y="5114"/>
                  </a:lnTo>
                  <a:lnTo>
                    <a:pt x="9357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42;p5"/>
            <p:cNvSpPr/>
            <p:nvPr/>
          </p:nvSpPr>
          <p:spPr>
            <a:xfrm>
              <a:off x="2088452" y="1209886"/>
              <a:ext cx="368680" cy="559963"/>
            </a:xfrm>
            <a:custGeom>
              <a:avLst/>
              <a:gdLst/>
              <a:ahLst/>
              <a:cxnLst/>
              <a:rect l="l" t="t" r="r" b="b"/>
              <a:pathLst>
                <a:path w="11497" h="17462" extrusionOk="0">
                  <a:moveTo>
                    <a:pt x="1" y="1"/>
                  </a:moveTo>
                  <a:lnTo>
                    <a:pt x="1" y="17461"/>
                  </a:lnTo>
                  <a:lnTo>
                    <a:pt x="11496" y="17461"/>
                  </a:lnTo>
                  <a:lnTo>
                    <a:pt x="11496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5"/>
            <p:cNvSpPr/>
            <p:nvPr/>
          </p:nvSpPr>
          <p:spPr>
            <a:xfrm>
              <a:off x="2103459" y="1229704"/>
              <a:ext cx="337061" cy="520840"/>
            </a:xfrm>
            <a:custGeom>
              <a:avLst/>
              <a:gdLst/>
              <a:ahLst/>
              <a:cxnLst/>
              <a:rect l="l" t="t" r="r" b="b"/>
              <a:pathLst>
                <a:path w="10511" h="16242" extrusionOk="0">
                  <a:moveTo>
                    <a:pt x="1" y="1"/>
                  </a:moveTo>
                  <a:lnTo>
                    <a:pt x="1" y="16242"/>
                  </a:lnTo>
                  <a:lnTo>
                    <a:pt x="10510" y="16242"/>
                  </a:lnTo>
                  <a:lnTo>
                    <a:pt x="10510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5"/>
            <p:cNvSpPr/>
            <p:nvPr/>
          </p:nvSpPr>
          <p:spPr>
            <a:xfrm>
              <a:off x="2226695" y="1404921"/>
              <a:ext cx="92194" cy="169894"/>
            </a:xfrm>
            <a:custGeom>
              <a:avLst/>
              <a:gdLst/>
              <a:ahLst/>
              <a:cxnLst/>
              <a:rect l="l" t="t" r="r" b="b"/>
              <a:pathLst>
                <a:path w="2875" h="5298" extrusionOk="0">
                  <a:moveTo>
                    <a:pt x="1" y="1"/>
                  </a:moveTo>
                  <a:lnTo>
                    <a:pt x="1" y="5297"/>
                  </a:lnTo>
                  <a:lnTo>
                    <a:pt x="2875" y="5297"/>
                  </a:lnTo>
                  <a:lnTo>
                    <a:pt x="2875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45;p5"/>
            <p:cNvSpPr/>
            <p:nvPr/>
          </p:nvSpPr>
          <p:spPr>
            <a:xfrm>
              <a:off x="1603014" y="934490"/>
              <a:ext cx="211678" cy="322054"/>
            </a:xfrm>
            <a:custGeom>
              <a:avLst/>
              <a:gdLst/>
              <a:ahLst/>
              <a:cxnLst/>
              <a:rect l="l" t="t" r="r" b="b"/>
              <a:pathLst>
                <a:path w="6601" h="10043" extrusionOk="0">
                  <a:moveTo>
                    <a:pt x="1" y="1"/>
                  </a:moveTo>
                  <a:lnTo>
                    <a:pt x="1" y="10042"/>
                  </a:lnTo>
                  <a:lnTo>
                    <a:pt x="6601" y="10042"/>
                  </a:lnTo>
                  <a:lnTo>
                    <a:pt x="660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46;p5"/>
            <p:cNvSpPr/>
            <p:nvPr/>
          </p:nvSpPr>
          <p:spPr>
            <a:xfrm>
              <a:off x="1611608" y="945746"/>
              <a:ext cx="193463" cy="299543"/>
            </a:xfrm>
            <a:custGeom>
              <a:avLst/>
              <a:gdLst/>
              <a:ahLst/>
              <a:cxnLst/>
              <a:rect l="l" t="t" r="r" b="b"/>
              <a:pathLst>
                <a:path w="6033" h="9341" extrusionOk="0">
                  <a:moveTo>
                    <a:pt x="0" y="0"/>
                  </a:moveTo>
                  <a:lnTo>
                    <a:pt x="0" y="9341"/>
                  </a:lnTo>
                  <a:lnTo>
                    <a:pt x="6032" y="9341"/>
                  </a:lnTo>
                  <a:lnTo>
                    <a:pt x="6032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47;p5"/>
            <p:cNvSpPr/>
            <p:nvPr/>
          </p:nvSpPr>
          <p:spPr>
            <a:xfrm>
              <a:off x="1682317" y="1046470"/>
              <a:ext cx="53072" cy="97549"/>
            </a:xfrm>
            <a:custGeom>
              <a:avLst/>
              <a:gdLst/>
              <a:ahLst/>
              <a:cxnLst/>
              <a:rect l="l" t="t" r="r" b="b"/>
              <a:pathLst>
                <a:path w="1655" h="3042" extrusionOk="0">
                  <a:moveTo>
                    <a:pt x="1" y="1"/>
                  </a:moveTo>
                  <a:lnTo>
                    <a:pt x="1" y="3042"/>
                  </a:lnTo>
                  <a:lnTo>
                    <a:pt x="1655" y="3042"/>
                  </a:lnTo>
                  <a:lnTo>
                    <a:pt x="1655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8" name="Google Shape;48;p5"/>
          <p:cNvGrpSpPr/>
          <p:nvPr/>
        </p:nvGrpSpPr>
        <p:grpSpPr>
          <a:xfrm>
            <a:off x="1388705" y="4044813"/>
            <a:ext cx="938231" cy="663893"/>
            <a:chOff x="1278330" y="4044813"/>
            <a:chExt cx="938231" cy="663893"/>
          </a:xfrm>
        </p:grpSpPr>
        <p:sp>
          <p:nvSpPr>
            <p:cNvPr id="49" name="Google Shape;49;p5"/>
            <p:cNvSpPr/>
            <p:nvPr/>
          </p:nvSpPr>
          <p:spPr>
            <a:xfrm>
              <a:off x="1306197" y="4117158"/>
              <a:ext cx="794088" cy="258272"/>
            </a:xfrm>
            <a:custGeom>
              <a:avLst/>
              <a:gdLst/>
              <a:ahLst/>
              <a:cxnLst/>
              <a:rect l="l" t="t" r="r" b="b"/>
              <a:pathLst>
                <a:path w="24763" h="8054" extrusionOk="0">
                  <a:moveTo>
                    <a:pt x="0" y="0"/>
                  </a:moveTo>
                  <a:lnTo>
                    <a:pt x="0" y="8054"/>
                  </a:lnTo>
                  <a:lnTo>
                    <a:pt x="24762" y="8054"/>
                  </a:lnTo>
                  <a:lnTo>
                    <a:pt x="24762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0;p5"/>
            <p:cNvSpPr/>
            <p:nvPr/>
          </p:nvSpPr>
          <p:spPr>
            <a:xfrm>
              <a:off x="1278330" y="4044813"/>
              <a:ext cx="855176" cy="72376"/>
            </a:xfrm>
            <a:custGeom>
              <a:avLst/>
              <a:gdLst/>
              <a:ahLst/>
              <a:cxnLst/>
              <a:rect l="l" t="t" r="r" b="b"/>
              <a:pathLst>
                <a:path w="26668" h="2257" extrusionOk="0">
                  <a:moveTo>
                    <a:pt x="1" y="1"/>
                  </a:moveTo>
                  <a:lnTo>
                    <a:pt x="1" y="2256"/>
                  </a:lnTo>
                  <a:lnTo>
                    <a:pt x="26667" y="2256"/>
                  </a:lnTo>
                  <a:lnTo>
                    <a:pt x="26667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1;p5"/>
            <p:cNvSpPr/>
            <p:nvPr/>
          </p:nvSpPr>
          <p:spPr>
            <a:xfrm>
              <a:off x="1278330" y="4044813"/>
              <a:ext cx="444199" cy="330616"/>
            </a:xfrm>
            <a:custGeom>
              <a:avLst/>
              <a:gdLst/>
              <a:ahLst/>
              <a:cxnLst/>
              <a:rect l="l" t="t" r="r" b="b"/>
              <a:pathLst>
                <a:path w="13852" h="10310" extrusionOk="0">
                  <a:moveTo>
                    <a:pt x="1" y="1"/>
                  </a:moveTo>
                  <a:lnTo>
                    <a:pt x="1" y="2256"/>
                  </a:lnTo>
                  <a:lnTo>
                    <a:pt x="869" y="2256"/>
                  </a:lnTo>
                  <a:lnTo>
                    <a:pt x="869" y="10310"/>
                  </a:lnTo>
                  <a:lnTo>
                    <a:pt x="13334" y="10310"/>
                  </a:lnTo>
                  <a:lnTo>
                    <a:pt x="13852" y="2056"/>
                  </a:lnTo>
                  <a:lnTo>
                    <a:pt x="13852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5"/>
            <p:cNvSpPr/>
            <p:nvPr/>
          </p:nvSpPr>
          <p:spPr>
            <a:xfrm>
              <a:off x="1828064" y="4158942"/>
              <a:ext cx="161300" cy="38609"/>
            </a:xfrm>
            <a:custGeom>
              <a:avLst/>
              <a:gdLst/>
              <a:ahLst/>
              <a:cxnLst/>
              <a:rect l="l" t="t" r="r" b="b"/>
              <a:pathLst>
                <a:path w="5030" h="1204" extrusionOk="0">
                  <a:moveTo>
                    <a:pt x="1" y="0"/>
                  </a:moveTo>
                  <a:lnTo>
                    <a:pt x="1" y="1203"/>
                  </a:lnTo>
                  <a:lnTo>
                    <a:pt x="5030" y="1203"/>
                  </a:lnTo>
                  <a:lnTo>
                    <a:pt x="503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3;p5"/>
            <p:cNvSpPr/>
            <p:nvPr/>
          </p:nvSpPr>
          <p:spPr>
            <a:xfrm>
              <a:off x="1803404" y="4246262"/>
              <a:ext cx="206867" cy="82029"/>
            </a:xfrm>
            <a:custGeom>
              <a:avLst/>
              <a:gdLst/>
              <a:ahLst/>
              <a:cxnLst/>
              <a:rect l="l" t="t" r="r" b="b"/>
              <a:pathLst>
                <a:path w="6451" h="2558" extrusionOk="0">
                  <a:moveTo>
                    <a:pt x="1" y="1"/>
                  </a:moveTo>
                  <a:lnTo>
                    <a:pt x="1" y="2557"/>
                  </a:lnTo>
                  <a:lnTo>
                    <a:pt x="6450" y="2557"/>
                  </a:lnTo>
                  <a:lnTo>
                    <a:pt x="6450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54;p5"/>
            <p:cNvSpPr/>
            <p:nvPr/>
          </p:nvSpPr>
          <p:spPr>
            <a:xfrm>
              <a:off x="1389252" y="4450403"/>
              <a:ext cx="794088" cy="258304"/>
            </a:xfrm>
            <a:custGeom>
              <a:avLst/>
              <a:gdLst/>
              <a:ahLst/>
              <a:cxnLst/>
              <a:rect l="l" t="t" r="r" b="b"/>
              <a:pathLst>
                <a:path w="24763" h="8055" extrusionOk="0">
                  <a:moveTo>
                    <a:pt x="0" y="1"/>
                  </a:moveTo>
                  <a:lnTo>
                    <a:pt x="0" y="8054"/>
                  </a:lnTo>
                  <a:lnTo>
                    <a:pt x="24762" y="8054"/>
                  </a:lnTo>
                  <a:lnTo>
                    <a:pt x="24762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5"/>
            <p:cNvSpPr/>
            <p:nvPr/>
          </p:nvSpPr>
          <p:spPr>
            <a:xfrm>
              <a:off x="1361385" y="4378091"/>
              <a:ext cx="855176" cy="72344"/>
            </a:xfrm>
            <a:custGeom>
              <a:avLst/>
              <a:gdLst/>
              <a:ahLst/>
              <a:cxnLst/>
              <a:rect l="l" t="t" r="r" b="b"/>
              <a:pathLst>
                <a:path w="26668" h="2256" extrusionOk="0">
                  <a:moveTo>
                    <a:pt x="0" y="0"/>
                  </a:moveTo>
                  <a:lnTo>
                    <a:pt x="0" y="2256"/>
                  </a:lnTo>
                  <a:lnTo>
                    <a:pt x="26667" y="2256"/>
                  </a:lnTo>
                  <a:lnTo>
                    <a:pt x="26667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6;p5"/>
            <p:cNvSpPr/>
            <p:nvPr/>
          </p:nvSpPr>
          <p:spPr>
            <a:xfrm>
              <a:off x="1361385" y="4378091"/>
              <a:ext cx="444199" cy="330616"/>
            </a:xfrm>
            <a:custGeom>
              <a:avLst/>
              <a:gdLst/>
              <a:ahLst/>
              <a:cxnLst/>
              <a:rect l="l" t="t" r="r" b="b"/>
              <a:pathLst>
                <a:path w="13852" h="10310" extrusionOk="0">
                  <a:moveTo>
                    <a:pt x="0" y="0"/>
                  </a:moveTo>
                  <a:lnTo>
                    <a:pt x="0" y="2256"/>
                  </a:lnTo>
                  <a:lnTo>
                    <a:pt x="869" y="2256"/>
                  </a:lnTo>
                  <a:lnTo>
                    <a:pt x="869" y="10309"/>
                  </a:lnTo>
                  <a:lnTo>
                    <a:pt x="13334" y="10309"/>
                  </a:lnTo>
                  <a:lnTo>
                    <a:pt x="13852" y="2039"/>
                  </a:lnTo>
                  <a:lnTo>
                    <a:pt x="1385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7;p5"/>
            <p:cNvSpPr/>
            <p:nvPr/>
          </p:nvSpPr>
          <p:spPr>
            <a:xfrm>
              <a:off x="1911118" y="4492219"/>
              <a:ext cx="160754" cy="38609"/>
            </a:xfrm>
            <a:custGeom>
              <a:avLst/>
              <a:gdLst/>
              <a:ahLst/>
              <a:cxnLst/>
              <a:rect l="l" t="t" r="r" b="b"/>
              <a:pathLst>
                <a:path w="5013" h="1204" extrusionOk="0">
                  <a:moveTo>
                    <a:pt x="0" y="0"/>
                  </a:moveTo>
                  <a:lnTo>
                    <a:pt x="0" y="1203"/>
                  </a:lnTo>
                  <a:lnTo>
                    <a:pt x="5013" y="1203"/>
                  </a:lnTo>
                  <a:lnTo>
                    <a:pt x="5013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58;p5"/>
            <p:cNvSpPr/>
            <p:nvPr/>
          </p:nvSpPr>
          <p:spPr>
            <a:xfrm>
              <a:off x="1885945" y="4579539"/>
              <a:ext cx="206835" cy="82029"/>
            </a:xfrm>
            <a:custGeom>
              <a:avLst/>
              <a:gdLst/>
              <a:ahLst/>
              <a:cxnLst/>
              <a:rect l="l" t="t" r="r" b="b"/>
              <a:pathLst>
                <a:path w="6450" h="2558" extrusionOk="0">
                  <a:moveTo>
                    <a:pt x="0" y="1"/>
                  </a:moveTo>
                  <a:lnTo>
                    <a:pt x="0" y="2557"/>
                  </a:lnTo>
                  <a:lnTo>
                    <a:pt x="6450" y="2557"/>
                  </a:lnTo>
                  <a:lnTo>
                    <a:pt x="6450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9" name="Google Shape;59;p5"/>
          <p:cNvGrpSpPr/>
          <p:nvPr/>
        </p:nvGrpSpPr>
        <p:grpSpPr>
          <a:xfrm>
            <a:off x="6953203" y="3236296"/>
            <a:ext cx="837507" cy="1448842"/>
            <a:chOff x="7002828" y="3236296"/>
            <a:chExt cx="837507" cy="1448842"/>
          </a:xfrm>
        </p:grpSpPr>
        <p:sp>
          <p:nvSpPr>
            <p:cNvPr id="60" name="Google Shape;60;p5"/>
            <p:cNvSpPr/>
            <p:nvPr/>
          </p:nvSpPr>
          <p:spPr>
            <a:xfrm>
              <a:off x="7002828" y="3236296"/>
              <a:ext cx="837507" cy="1448842"/>
            </a:xfrm>
            <a:custGeom>
              <a:avLst/>
              <a:gdLst/>
              <a:ahLst/>
              <a:cxnLst/>
              <a:rect l="l" t="t" r="r" b="b"/>
              <a:pathLst>
                <a:path w="26117" h="45181" extrusionOk="0">
                  <a:moveTo>
                    <a:pt x="586" y="0"/>
                  </a:moveTo>
                  <a:lnTo>
                    <a:pt x="1" y="45180"/>
                  </a:lnTo>
                  <a:lnTo>
                    <a:pt x="26116" y="45180"/>
                  </a:lnTo>
                  <a:lnTo>
                    <a:pt x="26116" y="619"/>
                  </a:lnTo>
                  <a:lnTo>
                    <a:pt x="586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61;p5"/>
            <p:cNvSpPr/>
            <p:nvPr/>
          </p:nvSpPr>
          <p:spPr>
            <a:xfrm>
              <a:off x="7465242" y="3247551"/>
              <a:ext cx="375094" cy="1437586"/>
            </a:xfrm>
            <a:custGeom>
              <a:avLst/>
              <a:gdLst/>
              <a:ahLst/>
              <a:cxnLst/>
              <a:rect l="l" t="t" r="r" b="b"/>
              <a:pathLst>
                <a:path w="11697" h="44830" extrusionOk="0">
                  <a:moveTo>
                    <a:pt x="234" y="0"/>
                  </a:moveTo>
                  <a:lnTo>
                    <a:pt x="0" y="44829"/>
                  </a:lnTo>
                  <a:lnTo>
                    <a:pt x="11696" y="44829"/>
                  </a:lnTo>
                  <a:lnTo>
                    <a:pt x="11696" y="268"/>
                  </a:lnTo>
                  <a:lnTo>
                    <a:pt x="234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62;p5"/>
            <p:cNvSpPr/>
            <p:nvPr/>
          </p:nvSpPr>
          <p:spPr>
            <a:xfrm>
              <a:off x="7048396" y="3262559"/>
              <a:ext cx="396515" cy="296304"/>
            </a:xfrm>
            <a:custGeom>
              <a:avLst/>
              <a:gdLst/>
              <a:ahLst/>
              <a:cxnLst/>
              <a:rect l="l" t="t" r="r" b="b"/>
              <a:pathLst>
                <a:path w="12365" h="9240" extrusionOk="0">
                  <a:moveTo>
                    <a:pt x="0" y="0"/>
                  </a:moveTo>
                  <a:lnTo>
                    <a:pt x="0" y="9240"/>
                  </a:lnTo>
                  <a:lnTo>
                    <a:pt x="12364" y="9240"/>
                  </a:lnTo>
                  <a:lnTo>
                    <a:pt x="12364" y="4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63;p5"/>
            <p:cNvSpPr/>
            <p:nvPr/>
          </p:nvSpPr>
          <p:spPr>
            <a:xfrm>
              <a:off x="7185004" y="3340226"/>
              <a:ext cx="121119" cy="47716"/>
            </a:xfrm>
            <a:custGeom>
              <a:avLst/>
              <a:gdLst/>
              <a:ahLst/>
              <a:cxnLst/>
              <a:rect l="l" t="t" r="r" b="b"/>
              <a:pathLst>
                <a:path w="3777" h="1488" extrusionOk="0">
                  <a:moveTo>
                    <a:pt x="3777" y="1"/>
                  </a:moveTo>
                  <a:lnTo>
                    <a:pt x="1" y="118"/>
                  </a:lnTo>
                  <a:lnTo>
                    <a:pt x="1" y="1488"/>
                  </a:lnTo>
                  <a:lnTo>
                    <a:pt x="3777" y="1488"/>
                  </a:lnTo>
                  <a:lnTo>
                    <a:pt x="3777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64;p5"/>
            <p:cNvSpPr/>
            <p:nvPr/>
          </p:nvSpPr>
          <p:spPr>
            <a:xfrm>
              <a:off x="7185004" y="3424885"/>
              <a:ext cx="125416" cy="17733"/>
            </a:xfrm>
            <a:custGeom>
              <a:avLst/>
              <a:gdLst/>
              <a:ahLst/>
              <a:cxnLst/>
              <a:rect l="l" t="t" r="r" b="b"/>
              <a:pathLst>
                <a:path w="3911" h="553" extrusionOk="0">
                  <a:moveTo>
                    <a:pt x="1" y="1"/>
                  </a:moveTo>
                  <a:lnTo>
                    <a:pt x="1" y="552"/>
                  </a:lnTo>
                  <a:lnTo>
                    <a:pt x="3911" y="552"/>
                  </a:lnTo>
                  <a:lnTo>
                    <a:pt x="3911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65;p5"/>
            <p:cNvSpPr/>
            <p:nvPr/>
          </p:nvSpPr>
          <p:spPr>
            <a:xfrm>
              <a:off x="7048396" y="4300937"/>
              <a:ext cx="396515" cy="295791"/>
            </a:xfrm>
            <a:custGeom>
              <a:avLst/>
              <a:gdLst/>
              <a:ahLst/>
              <a:cxnLst/>
              <a:rect l="l" t="t" r="r" b="b"/>
              <a:pathLst>
                <a:path w="12365" h="9224" extrusionOk="0">
                  <a:moveTo>
                    <a:pt x="0" y="0"/>
                  </a:moveTo>
                  <a:lnTo>
                    <a:pt x="0" y="9223"/>
                  </a:lnTo>
                  <a:lnTo>
                    <a:pt x="12364" y="9223"/>
                  </a:lnTo>
                  <a:lnTo>
                    <a:pt x="12364" y="4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66;p5"/>
            <p:cNvSpPr/>
            <p:nvPr/>
          </p:nvSpPr>
          <p:spPr>
            <a:xfrm>
              <a:off x="7185004" y="4378091"/>
              <a:ext cx="121119" cy="47716"/>
            </a:xfrm>
            <a:custGeom>
              <a:avLst/>
              <a:gdLst/>
              <a:ahLst/>
              <a:cxnLst/>
              <a:rect l="l" t="t" r="r" b="b"/>
              <a:pathLst>
                <a:path w="3777" h="1488" extrusionOk="0">
                  <a:moveTo>
                    <a:pt x="3777" y="0"/>
                  </a:moveTo>
                  <a:lnTo>
                    <a:pt x="1" y="134"/>
                  </a:lnTo>
                  <a:lnTo>
                    <a:pt x="1" y="1487"/>
                  </a:lnTo>
                  <a:lnTo>
                    <a:pt x="3777" y="1487"/>
                  </a:lnTo>
                  <a:lnTo>
                    <a:pt x="3777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67;p5"/>
            <p:cNvSpPr/>
            <p:nvPr/>
          </p:nvSpPr>
          <p:spPr>
            <a:xfrm>
              <a:off x="7185004" y="4462749"/>
              <a:ext cx="125416" cy="17701"/>
            </a:xfrm>
            <a:custGeom>
              <a:avLst/>
              <a:gdLst/>
              <a:ahLst/>
              <a:cxnLst/>
              <a:rect l="l" t="t" r="r" b="b"/>
              <a:pathLst>
                <a:path w="3911" h="552" extrusionOk="0">
                  <a:moveTo>
                    <a:pt x="1" y="0"/>
                  </a:moveTo>
                  <a:lnTo>
                    <a:pt x="1" y="552"/>
                  </a:lnTo>
                  <a:lnTo>
                    <a:pt x="3911" y="552"/>
                  </a:lnTo>
                  <a:lnTo>
                    <a:pt x="3911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68;p5"/>
            <p:cNvSpPr/>
            <p:nvPr/>
          </p:nvSpPr>
          <p:spPr>
            <a:xfrm>
              <a:off x="7048396" y="3596349"/>
              <a:ext cx="396515" cy="296336"/>
            </a:xfrm>
            <a:custGeom>
              <a:avLst/>
              <a:gdLst/>
              <a:ahLst/>
              <a:cxnLst/>
              <a:rect l="l" t="t" r="r" b="b"/>
              <a:pathLst>
                <a:path w="12365" h="9241" extrusionOk="0">
                  <a:moveTo>
                    <a:pt x="0" y="1"/>
                  </a:moveTo>
                  <a:lnTo>
                    <a:pt x="0" y="9240"/>
                  </a:lnTo>
                  <a:lnTo>
                    <a:pt x="12364" y="9240"/>
                  </a:lnTo>
                  <a:lnTo>
                    <a:pt x="12364" y="452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5"/>
            <p:cNvSpPr/>
            <p:nvPr/>
          </p:nvSpPr>
          <p:spPr>
            <a:xfrm>
              <a:off x="7185004" y="3674049"/>
              <a:ext cx="121119" cy="47716"/>
            </a:xfrm>
            <a:custGeom>
              <a:avLst/>
              <a:gdLst/>
              <a:ahLst/>
              <a:cxnLst/>
              <a:rect l="l" t="t" r="r" b="b"/>
              <a:pathLst>
                <a:path w="3777" h="1488" extrusionOk="0">
                  <a:moveTo>
                    <a:pt x="3777" y="0"/>
                  </a:moveTo>
                  <a:lnTo>
                    <a:pt x="1" y="134"/>
                  </a:lnTo>
                  <a:lnTo>
                    <a:pt x="1" y="1487"/>
                  </a:lnTo>
                  <a:lnTo>
                    <a:pt x="3777" y="1487"/>
                  </a:lnTo>
                  <a:lnTo>
                    <a:pt x="3777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70;p5"/>
            <p:cNvSpPr/>
            <p:nvPr/>
          </p:nvSpPr>
          <p:spPr>
            <a:xfrm>
              <a:off x="7185004" y="3758707"/>
              <a:ext cx="125416" cy="17701"/>
            </a:xfrm>
            <a:custGeom>
              <a:avLst/>
              <a:gdLst/>
              <a:ahLst/>
              <a:cxnLst/>
              <a:rect l="l" t="t" r="r" b="b"/>
              <a:pathLst>
                <a:path w="3911" h="552" extrusionOk="0">
                  <a:moveTo>
                    <a:pt x="1" y="0"/>
                  </a:moveTo>
                  <a:lnTo>
                    <a:pt x="1" y="552"/>
                  </a:lnTo>
                  <a:lnTo>
                    <a:pt x="3911" y="552"/>
                  </a:lnTo>
                  <a:lnTo>
                    <a:pt x="3911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71;p5"/>
            <p:cNvSpPr/>
            <p:nvPr/>
          </p:nvSpPr>
          <p:spPr>
            <a:xfrm>
              <a:off x="7043041" y="3951048"/>
              <a:ext cx="396515" cy="296336"/>
            </a:xfrm>
            <a:custGeom>
              <a:avLst/>
              <a:gdLst/>
              <a:ahLst/>
              <a:cxnLst/>
              <a:rect l="l" t="t" r="r" b="b"/>
              <a:pathLst>
                <a:path w="12365" h="9241" extrusionOk="0">
                  <a:moveTo>
                    <a:pt x="0" y="1"/>
                  </a:moveTo>
                  <a:lnTo>
                    <a:pt x="0" y="9240"/>
                  </a:lnTo>
                  <a:lnTo>
                    <a:pt x="12364" y="9240"/>
                  </a:lnTo>
                  <a:lnTo>
                    <a:pt x="1236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5"/>
            <p:cNvSpPr/>
            <p:nvPr/>
          </p:nvSpPr>
          <p:spPr>
            <a:xfrm>
              <a:off x="7182342" y="4081242"/>
              <a:ext cx="114160" cy="44510"/>
            </a:xfrm>
            <a:custGeom>
              <a:avLst/>
              <a:gdLst/>
              <a:ahLst/>
              <a:cxnLst/>
              <a:rect l="l" t="t" r="r" b="b"/>
              <a:pathLst>
                <a:path w="3560" h="1388" extrusionOk="0">
                  <a:moveTo>
                    <a:pt x="3559" y="1"/>
                  </a:moveTo>
                  <a:lnTo>
                    <a:pt x="0" y="118"/>
                  </a:lnTo>
                  <a:lnTo>
                    <a:pt x="0" y="1388"/>
                  </a:lnTo>
                  <a:lnTo>
                    <a:pt x="3559" y="1388"/>
                  </a:lnTo>
                  <a:lnTo>
                    <a:pt x="3559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73;p5"/>
            <p:cNvSpPr/>
            <p:nvPr/>
          </p:nvSpPr>
          <p:spPr>
            <a:xfrm>
              <a:off x="7182342" y="4160545"/>
              <a:ext cx="117912" cy="16643"/>
            </a:xfrm>
            <a:custGeom>
              <a:avLst/>
              <a:gdLst/>
              <a:ahLst/>
              <a:cxnLst/>
              <a:rect l="l" t="t" r="r" b="b"/>
              <a:pathLst>
                <a:path w="3677" h="519" extrusionOk="0">
                  <a:moveTo>
                    <a:pt x="0" y="1"/>
                  </a:moveTo>
                  <a:lnTo>
                    <a:pt x="0" y="519"/>
                  </a:lnTo>
                  <a:lnTo>
                    <a:pt x="3676" y="519"/>
                  </a:lnTo>
                  <a:lnTo>
                    <a:pt x="3676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9"/>
          <p:cNvSpPr/>
          <p:nvPr/>
        </p:nvSpPr>
        <p:spPr>
          <a:xfrm>
            <a:off x="-731" y="4672701"/>
            <a:ext cx="9143833" cy="475558"/>
          </a:xfrm>
          <a:custGeom>
            <a:avLst/>
            <a:gdLst/>
            <a:ahLst/>
            <a:cxnLst/>
            <a:rect l="l" t="t" r="r" b="b"/>
            <a:pathLst>
              <a:path w="285299" h="14838" extrusionOk="0">
                <a:moveTo>
                  <a:pt x="0" y="1"/>
                </a:moveTo>
                <a:lnTo>
                  <a:pt x="0" y="14838"/>
                </a:lnTo>
                <a:lnTo>
                  <a:pt x="285299" y="14838"/>
                </a:lnTo>
                <a:lnTo>
                  <a:pt x="285299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8" name="Google Shape;178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9"/>
          <p:cNvSpPr txBox="1">
            <a:spLocks noGrp="1"/>
          </p:cNvSpPr>
          <p:nvPr>
            <p:ph type="title"/>
          </p:nvPr>
        </p:nvSpPr>
        <p:spPr>
          <a:xfrm>
            <a:off x="720000" y="1233175"/>
            <a:ext cx="35907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80" name="Google Shape;180;p9"/>
          <p:cNvSpPr txBox="1">
            <a:spLocks noGrp="1"/>
          </p:cNvSpPr>
          <p:nvPr>
            <p:ph type="subTitle" idx="1"/>
          </p:nvPr>
        </p:nvSpPr>
        <p:spPr>
          <a:xfrm>
            <a:off x="720000" y="2803075"/>
            <a:ext cx="35907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81" name="Google Shape;181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4845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98450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10"/>
          <p:cNvSpPr/>
          <p:nvPr/>
        </p:nvSpPr>
        <p:spPr>
          <a:xfrm>
            <a:off x="-731" y="4672701"/>
            <a:ext cx="9143833" cy="475558"/>
          </a:xfrm>
          <a:custGeom>
            <a:avLst/>
            <a:gdLst/>
            <a:ahLst/>
            <a:cxnLst/>
            <a:rect l="l" t="t" r="r" b="b"/>
            <a:pathLst>
              <a:path w="285299" h="14838" extrusionOk="0">
                <a:moveTo>
                  <a:pt x="0" y="1"/>
                </a:moveTo>
                <a:lnTo>
                  <a:pt x="0" y="14838"/>
                </a:lnTo>
                <a:lnTo>
                  <a:pt x="285299" y="14838"/>
                </a:lnTo>
                <a:lnTo>
                  <a:pt x="285299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4" name="Google Shape;184;p10"/>
          <p:cNvSpPr txBox="1">
            <a:spLocks noGrp="1"/>
          </p:cNvSpPr>
          <p:nvPr>
            <p:ph type="body" idx="1"/>
          </p:nvPr>
        </p:nvSpPr>
        <p:spPr>
          <a:xfrm>
            <a:off x="726600" y="3995700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1"/>
          <p:cNvSpPr/>
          <p:nvPr/>
        </p:nvSpPr>
        <p:spPr>
          <a:xfrm>
            <a:off x="-731" y="4672701"/>
            <a:ext cx="9143833" cy="475558"/>
          </a:xfrm>
          <a:custGeom>
            <a:avLst/>
            <a:gdLst/>
            <a:ahLst/>
            <a:cxnLst/>
            <a:rect l="l" t="t" r="r" b="b"/>
            <a:pathLst>
              <a:path w="285299" h="14838" extrusionOk="0">
                <a:moveTo>
                  <a:pt x="0" y="1"/>
                </a:moveTo>
                <a:lnTo>
                  <a:pt x="0" y="14838"/>
                </a:lnTo>
                <a:lnTo>
                  <a:pt x="285299" y="14838"/>
                </a:lnTo>
                <a:lnTo>
                  <a:pt x="285299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7" name="Google Shape;187;p11"/>
          <p:cNvSpPr txBox="1">
            <a:spLocks noGrp="1"/>
          </p:cNvSpPr>
          <p:nvPr>
            <p:ph type="title" hasCustomPrompt="1"/>
          </p:nvPr>
        </p:nvSpPr>
        <p:spPr>
          <a:xfrm>
            <a:off x="720000" y="1106125"/>
            <a:ext cx="77040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188" name="Google Shape;188;p11"/>
          <p:cNvSpPr txBox="1">
            <a:spLocks noGrp="1"/>
          </p:cNvSpPr>
          <p:nvPr>
            <p:ph type="body" idx="1"/>
          </p:nvPr>
        </p:nvSpPr>
        <p:spPr>
          <a:xfrm>
            <a:off x="720000" y="3152225"/>
            <a:ext cx="77040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1pPr>
            <a:lvl2pPr marL="914400" lvl="1" indent="-298450" algn="ctr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 algn="ctr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 algn="ctr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 algn="ctr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 algn="ctr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 algn="ctr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 algn="ctr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algn="ctr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solidFill>
          <a:schemeClr val="lt1"/>
        </a:solidFill>
        <a:effectLst/>
      </p:bgPr>
    </p:bg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>
  <p:cSld name="CUSTOM_8"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Google Shape;434;p19"/>
          <p:cNvSpPr/>
          <p:nvPr/>
        </p:nvSpPr>
        <p:spPr>
          <a:xfrm>
            <a:off x="-731" y="4672701"/>
            <a:ext cx="9143833" cy="475558"/>
          </a:xfrm>
          <a:custGeom>
            <a:avLst/>
            <a:gdLst/>
            <a:ahLst/>
            <a:cxnLst/>
            <a:rect l="l" t="t" r="r" b="b"/>
            <a:pathLst>
              <a:path w="285299" h="14838" extrusionOk="0">
                <a:moveTo>
                  <a:pt x="0" y="1"/>
                </a:moveTo>
                <a:lnTo>
                  <a:pt x="0" y="14838"/>
                </a:lnTo>
                <a:lnTo>
                  <a:pt x="285299" y="14838"/>
                </a:lnTo>
                <a:lnTo>
                  <a:pt x="285299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5" name="Google Shape;435;p19"/>
          <p:cNvSpPr txBox="1">
            <a:spLocks noGrp="1"/>
          </p:cNvSpPr>
          <p:nvPr>
            <p:ph type="subTitle" idx="1"/>
          </p:nvPr>
        </p:nvSpPr>
        <p:spPr>
          <a:xfrm>
            <a:off x="2481875" y="1533123"/>
            <a:ext cx="20934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6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36" name="Google Shape;436;p19"/>
          <p:cNvSpPr txBox="1">
            <a:spLocks noGrp="1"/>
          </p:cNvSpPr>
          <p:nvPr>
            <p:ph type="subTitle" idx="2"/>
          </p:nvPr>
        </p:nvSpPr>
        <p:spPr>
          <a:xfrm>
            <a:off x="2481875" y="1804711"/>
            <a:ext cx="20934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37" name="Google Shape;437;p19"/>
          <p:cNvSpPr txBox="1">
            <a:spLocks noGrp="1"/>
          </p:cNvSpPr>
          <p:nvPr>
            <p:ph type="title" hasCustomPrompt="1"/>
          </p:nvPr>
        </p:nvSpPr>
        <p:spPr>
          <a:xfrm>
            <a:off x="720000" y="1706550"/>
            <a:ext cx="758700" cy="45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Josefin Sans"/>
              <a:buNone/>
              <a:defRPr sz="27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38" name="Google Shape;438;p19"/>
          <p:cNvSpPr txBox="1">
            <a:spLocks noGrp="1"/>
          </p:cNvSpPr>
          <p:nvPr>
            <p:ph type="title" idx="3"/>
          </p:nvPr>
        </p:nvSpPr>
        <p:spPr>
          <a:xfrm>
            <a:off x="720000" y="540000"/>
            <a:ext cx="7704000" cy="32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700"/>
              <a:buNone/>
              <a:defRPr sz="27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39" name="Google Shape;439;p19"/>
          <p:cNvSpPr txBox="1">
            <a:spLocks noGrp="1"/>
          </p:cNvSpPr>
          <p:nvPr>
            <p:ph type="subTitle" idx="4"/>
          </p:nvPr>
        </p:nvSpPr>
        <p:spPr>
          <a:xfrm>
            <a:off x="2478625" y="2563930"/>
            <a:ext cx="20934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6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40" name="Google Shape;440;p19"/>
          <p:cNvSpPr txBox="1">
            <a:spLocks noGrp="1"/>
          </p:cNvSpPr>
          <p:nvPr>
            <p:ph type="subTitle" idx="5"/>
          </p:nvPr>
        </p:nvSpPr>
        <p:spPr>
          <a:xfrm>
            <a:off x="2478625" y="2838031"/>
            <a:ext cx="20934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41" name="Google Shape;441;p19"/>
          <p:cNvSpPr txBox="1">
            <a:spLocks noGrp="1"/>
          </p:cNvSpPr>
          <p:nvPr>
            <p:ph type="title" idx="6" hasCustomPrompt="1"/>
          </p:nvPr>
        </p:nvSpPr>
        <p:spPr>
          <a:xfrm>
            <a:off x="720000" y="2729475"/>
            <a:ext cx="758700" cy="503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Josefin Sans"/>
              <a:buNone/>
              <a:defRPr sz="27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42" name="Google Shape;442;p19"/>
          <p:cNvSpPr txBox="1">
            <a:spLocks noGrp="1"/>
          </p:cNvSpPr>
          <p:nvPr>
            <p:ph type="subTitle" idx="7"/>
          </p:nvPr>
        </p:nvSpPr>
        <p:spPr>
          <a:xfrm>
            <a:off x="2478625" y="3584797"/>
            <a:ext cx="20934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6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43" name="Google Shape;443;p19"/>
          <p:cNvSpPr txBox="1">
            <a:spLocks noGrp="1"/>
          </p:cNvSpPr>
          <p:nvPr>
            <p:ph type="subTitle" idx="8"/>
          </p:nvPr>
        </p:nvSpPr>
        <p:spPr>
          <a:xfrm>
            <a:off x="2478625" y="3861398"/>
            <a:ext cx="20934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44" name="Google Shape;444;p19"/>
          <p:cNvSpPr txBox="1">
            <a:spLocks noGrp="1"/>
          </p:cNvSpPr>
          <p:nvPr>
            <p:ph type="title" idx="9" hasCustomPrompt="1"/>
          </p:nvPr>
        </p:nvSpPr>
        <p:spPr>
          <a:xfrm>
            <a:off x="720000" y="3752700"/>
            <a:ext cx="758700" cy="503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Josefin Sans"/>
              <a:buNone/>
              <a:defRPr sz="27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grpSp>
        <p:nvGrpSpPr>
          <p:cNvPr id="445" name="Google Shape;445;p19"/>
          <p:cNvGrpSpPr/>
          <p:nvPr/>
        </p:nvGrpSpPr>
        <p:grpSpPr>
          <a:xfrm>
            <a:off x="6244509" y="1247368"/>
            <a:ext cx="431083" cy="553668"/>
            <a:chOff x="6201325" y="1203748"/>
            <a:chExt cx="474500" cy="609431"/>
          </a:xfrm>
        </p:grpSpPr>
        <p:sp>
          <p:nvSpPr>
            <p:cNvPr id="446" name="Google Shape;446;p19"/>
            <p:cNvSpPr/>
            <p:nvPr/>
          </p:nvSpPr>
          <p:spPr>
            <a:xfrm>
              <a:off x="6201325" y="1212305"/>
              <a:ext cx="474500" cy="598181"/>
            </a:xfrm>
            <a:custGeom>
              <a:avLst/>
              <a:gdLst/>
              <a:ahLst/>
              <a:cxnLst/>
              <a:rect l="l" t="t" r="r" b="b"/>
              <a:pathLst>
                <a:path w="14805" h="18664" extrusionOk="0">
                  <a:moveTo>
                    <a:pt x="0" y="0"/>
                  </a:moveTo>
                  <a:lnTo>
                    <a:pt x="0" y="18664"/>
                  </a:lnTo>
                  <a:lnTo>
                    <a:pt x="14804" y="18664"/>
                  </a:lnTo>
                  <a:lnTo>
                    <a:pt x="1480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19"/>
            <p:cNvSpPr/>
            <p:nvPr/>
          </p:nvSpPr>
          <p:spPr>
            <a:xfrm>
              <a:off x="6408560" y="1797090"/>
              <a:ext cx="65895" cy="16089"/>
            </a:xfrm>
            <a:custGeom>
              <a:avLst/>
              <a:gdLst/>
              <a:ahLst/>
              <a:cxnLst/>
              <a:rect l="l" t="t" r="r" b="b"/>
              <a:pathLst>
                <a:path w="2056" h="502" extrusionOk="0">
                  <a:moveTo>
                    <a:pt x="0" y="0"/>
                  </a:moveTo>
                  <a:lnTo>
                    <a:pt x="0" y="501"/>
                  </a:lnTo>
                  <a:lnTo>
                    <a:pt x="2056" y="501"/>
                  </a:lnTo>
                  <a:lnTo>
                    <a:pt x="2056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" name="Google Shape;448;p19"/>
            <p:cNvSpPr/>
            <p:nvPr/>
          </p:nvSpPr>
          <p:spPr>
            <a:xfrm>
              <a:off x="6333595" y="1417938"/>
              <a:ext cx="175121" cy="164417"/>
            </a:xfrm>
            <a:custGeom>
              <a:avLst/>
              <a:gdLst/>
              <a:ahLst/>
              <a:cxnLst/>
              <a:rect l="l" t="t" r="r" b="b"/>
              <a:pathLst>
                <a:path w="5464" h="5130" extrusionOk="0">
                  <a:moveTo>
                    <a:pt x="3743" y="0"/>
                  </a:moveTo>
                  <a:lnTo>
                    <a:pt x="1020" y="401"/>
                  </a:lnTo>
                  <a:lnTo>
                    <a:pt x="0" y="2958"/>
                  </a:lnTo>
                  <a:lnTo>
                    <a:pt x="1721" y="5130"/>
                  </a:lnTo>
                  <a:lnTo>
                    <a:pt x="4445" y="4729"/>
                  </a:lnTo>
                  <a:lnTo>
                    <a:pt x="5464" y="2173"/>
                  </a:lnTo>
                  <a:lnTo>
                    <a:pt x="3743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" name="Google Shape;449;p19"/>
            <p:cNvSpPr/>
            <p:nvPr/>
          </p:nvSpPr>
          <p:spPr>
            <a:xfrm>
              <a:off x="6374811" y="1470949"/>
              <a:ext cx="174608" cy="164449"/>
            </a:xfrm>
            <a:custGeom>
              <a:avLst/>
              <a:gdLst/>
              <a:ahLst/>
              <a:cxnLst/>
              <a:rect l="l" t="t" r="r" b="b"/>
              <a:pathLst>
                <a:path w="5448" h="5131" extrusionOk="0">
                  <a:moveTo>
                    <a:pt x="3744" y="1"/>
                  </a:moveTo>
                  <a:lnTo>
                    <a:pt x="1020" y="402"/>
                  </a:lnTo>
                  <a:lnTo>
                    <a:pt x="1" y="2958"/>
                  </a:lnTo>
                  <a:lnTo>
                    <a:pt x="1705" y="5130"/>
                  </a:lnTo>
                  <a:lnTo>
                    <a:pt x="4429" y="4729"/>
                  </a:lnTo>
                  <a:lnTo>
                    <a:pt x="5448" y="2173"/>
                  </a:lnTo>
                  <a:lnTo>
                    <a:pt x="3744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19"/>
            <p:cNvSpPr/>
            <p:nvPr/>
          </p:nvSpPr>
          <p:spPr>
            <a:xfrm>
              <a:off x="6418207" y="1203748"/>
              <a:ext cx="65350" cy="13942"/>
            </a:xfrm>
            <a:custGeom>
              <a:avLst/>
              <a:gdLst/>
              <a:ahLst/>
              <a:cxnLst/>
              <a:rect l="l" t="t" r="r" b="b"/>
              <a:pathLst>
                <a:path w="2039" h="435" extrusionOk="0">
                  <a:moveTo>
                    <a:pt x="0" y="0"/>
                  </a:moveTo>
                  <a:lnTo>
                    <a:pt x="0" y="434"/>
                  </a:lnTo>
                  <a:lnTo>
                    <a:pt x="2039" y="434"/>
                  </a:lnTo>
                  <a:lnTo>
                    <a:pt x="2039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1" name="Google Shape;451;p19"/>
          <p:cNvGrpSpPr/>
          <p:nvPr/>
        </p:nvGrpSpPr>
        <p:grpSpPr>
          <a:xfrm>
            <a:off x="7057215" y="860363"/>
            <a:ext cx="1440106" cy="2519509"/>
            <a:chOff x="6853029" y="844403"/>
            <a:chExt cx="1516061" cy="2652394"/>
          </a:xfrm>
        </p:grpSpPr>
        <p:sp>
          <p:nvSpPr>
            <p:cNvPr id="452" name="Google Shape;452;p19"/>
            <p:cNvSpPr/>
            <p:nvPr/>
          </p:nvSpPr>
          <p:spPr>
            <a:xfrm>
              <a:off x="6853029" y="1481141"/>
              <a:ext cx="321878" cy="689203"/>
            </a:xfrm>
            <a:custGeom>
              <a:avLst/>
              <a:gdLst/>
              <a:ahLst/>
              <a:cxnLst/>
              <a:rect l="l" t="t" r="r" b="b"/>
              <a:pathLst>
                <a:path w="10043" h="21504" extrusionOk="0">
                  <a:moveTo>
                    <a:pt x="1" y="0"/>
                  </a:moveTo>
                  <a:lnTo>
                    <a:pt x="1" y="21504"/>
                  </a:lnTo>
                  <a:lnTo>
                    <a:pt x="10042" y="21504"/>
                  </a:lnTo>
                  <a:lnTo>
                    <a:pt x="10042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" name="Google Shape;453;p19"/>
            <p:cNvSpPr/>
            <p:nvPr/>
          </p:nvSpPr>
          <p:spPr>
            <a:xfrm>
              <a:off x="7188272" y="2218515"/>
              <a:ext cx="395753" cy="666223"/>
            </a:xfrm>
            <a:custGeom>
              <a:avLst/>
              <a:gdLst/>
              <a:ahLst/>
              <a:cxnLst/>
              <a:rect l="l" t="t" r="r" b="b"/>
              <a:pathLst>
                <a:path w="12348" h="20787" extrusionOk="0">
                  <a:moveTo>
                    <a:pt x="0" y="1"/>
                  </a:moveTo>
                  <a:lnTo>
                    <a:pt x="0" y="20786"/>
                  </a:lnTo>
                  <a:lnTo>
                    <a:pt x="12348" y="20786"/>
                  </a:lnTo>
                  <a:lnTo>
                    <a:pt x="12348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" name="Google Shape;454;p19"/>
            <p:cNvSpPr/>
            <p:nvPr/>
          </p:nvSpPr>
          <p:spPr>
            <a:xfrm>
              <a:off x="7632197" y="844403"/>
              <a:ext cx="736894" cy="624975"/>
            </a:xfrm>
            <a:custGeom>
              <a:avLst/>
              <a:gdLst/>
              <a:ahLst/>
              <a:cxnLst/>
              <a:rect l="l" t="t" r="r" b="b"/>
              <a:pathLst>
                <a:path w="22992" h="19500" extrusionOk="0">
                  <a:moveTo>
                    <a:pt x="1" y="1"/>
                  </a:moveTo>
                  <a:lnTo>
                    <a:pt x="1" y="19499"/>
                  </a:lnTo>
                  <a:lnTo>
                    <a:pt x="11713" y="19499"/>
                  </a:lnTo>
                  <a:lnTo>
                    <a:pt x="11713" y="418"/>
                  </a:lnTo>
                  <a:lnTo>
                    <a:pt x="12131" y="418"/>
                  </a:lnTo>
                  <a:lnTo>
                    <a:pt x="12131" y="19499"/>
                  </a:lnTo>
                  <a:lnTo>
                    <a:pt x="22992" y="19499"/>
                  </a:lnTo>
                  <a:lnTo>
                    <a:pt x="22992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" name="Google Shape;455;p19"/>
            <p:cNvSpPr/>
            <p:nvPr/>
          </p:nvSpPr>
          <p:spPr>
            <a:xfrm>
              <a:off x="6853029" y="2218515"/>
              <a:ext cx="321878" cy="666223"/>
            </a:xfrm>
            <a:custGeom>
              <a:avLst/>
              <a:gdLst/>
              <a:ahLst/>
              <a:cxnLst/>
              <a:rect l="l" t="t" r="r" b="b"/>
              <a:pathLst>
                <a:path w="10043" h="20787" extrusionOk="0">
                  <a:moveTo>
                    <a:pt x="1" y="1"/>
                  </a:moveTo>
                  <a:lnTo>
                    <a:pt x="1" y="20786"/>
                  </a:lnTo>
                  <a:lnTo>
                    <a:pt x="10042" y="20786"/>
                  </a:lnTo>
                  <a:lnTo>
                    <a:pt x="10042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19"/>
            <p:cNvSpPr/>
            <p:nvPr/>
          </p:nvSpPr>
          <p:spPr>
            <a:xfrm>
              <a:off x="8020996" y="2218515"/>
              <a:ext cx="348095" cy="666223"/>
            </a:xfrm>
            <a:custGeom>
              <a:avLst/>
              <a:gdLst/>
              <a:ahLst/>
              <a:cxnLst/>
              <a:rect l="l" t="t" r="r" b="b"/>
              <a:pathLst>
                <a:path w="10861" h="20787" extrusionOk="0">
                  <a:moveTo>
                    <a:pt x="0" y="1"/>
                  </a:moveTo>
                  <a:lnTo>
                    <a:pt x="0" y="20786"/>
                  </a:lnTo>
                  <a:lnTo>
                    <a:pt x="10861" y="20786"/>
                  </a:lnTo>
                  <a:lnTo>
                    <a:pt x="10861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" name="Google Shape;457;p19"/>
            <p:cNvSpPr/>
            <p:nvPr/>
          </p:nvSpPr>
          <p:spPr>
            <a:xfrm>
              <a:off x="7188272" y="1481141"/>
              <a:ext cx="395753" cy="689203"/>
            </a:xfrm>
            <a:custGeom>
              <a:avLst/>
              <a:gdLst/>
              <a:ahLst/>
              <a:cxnLst/>
              <a:rect l="l" t="t" r="r" b="b"/>
              <a:pathLst>
                <a:path w="12348" h="21504" extrusionOk="0">
                  <a:moveTo>
                    <a:pt x="0" y="0"/>
                  </a:moveTo>
                  <a:lnTo>
                    <a:pt x="0" y="21504"/>
                  </a:lnTo>
                  <a:lnTo>
                    <a:pt x="12348" y="21504"/>
                  </a:lnTo>
                  <a:lnTo>
                    <a:pt x="12348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" name="Google Shape;458;p19"/>
            <p:cNvSpPr/>
            <p:nvPr/>
          </p:nvSpPr>
          <p:spPr>
            <a:xfrm>
              <a:off x="8020996" y="1481141"/>
              <a:ext cx="348095" cy="689203"/>
            </a:xfrm>
            <a:custGeom>
              <a:avLst/>
              <a:gdLst/>
              <a:ahLst/>
              <a:cxnLst/>
              <a:rect l="l" t="t" r="r" b="b"/>
              <a:pathLst>
                <a:path w="10861" h="21504" extrusionOk="0">
                  <a:moveTo>
                    <a:pt x="0" y="0"/>
                  </a:moveTo>
                  <a:lnTo>
                    <a:pt x="0" y="21504"/>
                  </a:lnTo>
                  <a:lnTo>
                    <a:pt x="10861" y="21504"/>
                  </a:lnTo>
                  <a:lnTo>
                    <a:pt x="10861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19"/>
            <p:cNvSpPr/>
            <p:nvPr/>
          </p:nvSpPr>
          <p:spPr>
            <a:xfrm>
              <a:off x="6853029" y="2896469"/>
              <a:ext cx="321878" cy="600329"/>
            </a:xfrm>
            <a:custGeom>
              <a:avLst/>
              <a:gdLst/>
              <a:ahLst/>
              <a:cxnLst/>
              <a:rect l="l" t="t" r="r" b="b"/>
              <a:pathLst>
                <a:path w="10043" h="18731" extrusionOk="0">
                  <a:moveTo>
                    <a:pt x="1" y="1"/>
                  </a:moveTo>
                  <a:lnTo>
                    <a:pt x="1" y="18731"/>
                  </a:lnTo>
                  <a:lnTo>
                    <a:pt x="10042" y="18731"/>
                  </a:lnTo>
                  <a:lnTo>
                    <a:pt x="10042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19"/>
            <p:cNvSpPr/>
            <p:nvPr/>
          </p:nvSpPr>
          <p:spPr>
            <a:xfrm>
              <a:off x="6853029" y="844403"/>
              <a:ext cx="730996" cy="624975"/>
            </a:xfrm>
            <a:custGeom>
              <a:avLst/>
              <a:gdLst/>
              <a:ahLst/>
              <a:cxnLst/>
              <a:rect l="l" t="t" r="r" b="b"/>
              <a:pathLst>
                <a:path w="22808" h="19500" extrusionOk="0">
                  <a:moveTo>
                    <a:pt x="1" y="1"/>
                  </a:moveTo>
                  <a:lnTo>
                    <a:pt x="1" y="19499"/>
                  </a:lnTo>
                  <a:lnTo>
                    <a:pt x="10042" y="19499"/>
                  </a:lnTo>
                  <a:lnTo>
                    <a:pt x="10042" y="418"/>
                  </a:lnTo>
                  <a:lnTo>
                    <a:pt x="10460" y="418"/>
                  </a:lnTo>
                  <a:lnTo>
                    <a:pt x="10460" y="19499"/>
                  </a:lnTo>
                  <a:lnTo>
                    <a:pt x="22808" y="19499"/>
                  </a:lnTo>
                  <a:lnTo>
                    <a:pt x="22808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" name="Google Shape;461;p19"/>
            <p:cNvSpPr/>
            <p:nvPr/>
          </p:nvSpPr>
          <p:spPr>
            <a:xfrm>
              <a:off x="7188272" y="2896469"/>
              <a:ext cx="395753" cy="600329"/>
            </a:xfrm>
            <a:custGeom>
              <a:avLst/>
              <a:gdLst/>
              <a:ahLst/>
              <a:cxnLst/>
              <a:rect l="l" t="t" r="r" b="b"/>
              <a:pathLst>
                <a:path w="12348" h="18731" extrusionOk="0">
                  <a:moveTo>
                    <a:pt x="0" y="1"/>
                  </a:moveTo>
                  <a:lnTo>
                    <a:pt x="0" y="18731"/>
                  </a:lnTo>
                  <a:lnTo>
                    <a:pt x="12348" y="18731"/>
                  </a:lnTo>
                  <a:lnTo>
                    <a:pt x="12348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" name="Google Shape;462;p19"/>
            <p:cNvSpPr/>
            <p:nvPr/>
          </p:nvSpPr>
          <p:spPr>
            <a:xfrm>
              <a:off x="8020996" y="2896469"/>
              <a:ext cx="348095" cy="600329"/>
            </a:xfrm>
            <a:custGeom>
              <a:avLst/>
              <a:gdLst/>
              <a:ahLst/>
              <a:cxnLst/>
              <a:rect l="l" t="t" r="r" b="b"/>
              <a:pathLst>
                <a:path w="10861" h="18731" extrusionOk="0">
                  <a:moveTo>
                    <a:pt x="0" y="1"/>
                  </a:moveTo>
                  <a:lnTo>
                    <a:pt x="0" y="18731"/>
                  </a:lnTo>
                  <a:lnTo>
                    <a:pt x="10861" y="18731"/>
                  </a:lnTo>
                  <a:lnTo>
                    <a:pt x="10861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463;p19"/>
            <p:cNvSpPr/>
            <p:nvPr/>
          </p:nvSpPr>
          <p:spPr>
            <a:xfrm>
              <a:off x="7632197" y="1481141"/>
              <a:ext cx="375434" cy="689203"/>
            </a:xfrm>
            <a:custGeom>
              <a:avLst/>
              <a:gdLst/>
              <a:ahLst/>
              <a:cxnLst/>
              <a:rect l="l" t="t" r="r" b="b"/>
              <a:pathLst>
                <a:path w="11714" h="21504" extrusionOk="0">
                  <a:moveTo>
                    <a:pt x="1" y="0"/>
                  </a:moveTo>
                  <a:lnTo>
                    <a:pt x="1" y="21504"/>
                  </a:lnTo>
                  <a:lnTo>
                    <a:pt x="11713" y="21504"/>
                  </a:lnTo>
                  <a:lnTo>
                    <a:pt x="11713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464;p19"/>
            <p:cNvSpPr/>
            <p:nvPr/>
          </p:nvSpPr>
          <p:spPr>
            <a:xfrm>
              <a:off x="7632197" y="2896469"/>
              <a:ext cx="375434" cy="600329"/>
            </a:xfrm>
            <a:custGeom>
              <a:avLst/>
              <a:gdLst/>
              <a:ahLst/>
              <a:cxnLst/>
              <a:rect l="l" t="t" r="r" b="b"/>
              <a:pathLst>
                <a:path w="11714" h="18731" extrusionOk="0">
                  <a:moveTo>
                    <a:pt x="1" y="1"/>
                  </a:moveTo>
                  <a:lnTo>
                    <a:pt x="1" y="18731"/>
                  </a:lnTo>
                  <a:lnTo>
                    <a:pt x="11713" y="18731"/>
                  </a:lnTo>
                  <a:lnTo>
                    <a:pt x="11713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" name="Google Shape;465;p19"/>
            <p:cNvSpPr/>
            <p:nvPr/>
          </p:nvSpPr>
          <p:spPr>
            <a:xfrm>
              <a:off x="7632197" y="2218515"/>
              <a:ext cx="375434" cy="666223"/>
            </a:xfrm>
            <a:custGeom>
              <a:avLst/>
              <a:gdLst/>
              <a:ahLst/>
              <a:cxnLst/>
              <a:rect l="l" t="t" r="r" b="b"/>
              <a:pathLst>
                <a:path w="11714" h="20787" extrusionOk="0">
                  <a:moveTo>
                    <a:pt x="1" y="1"/>
                  </a:moveTo>
                  <a:lnTo>
                    <a:pt x="1" y="20786"/>
                  </a:lnTo>
                  <a:lnTo>
                    <a:pt x="11713" y="20786"/>
                  </a:lnTo>
                  <a:lnTo>
                    <a:pt x="11713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66" name="Google Shape;466;p19"/>
          <p:cNvGrpSpPr/>
          <p:nvPr/>
        </p:nvGrpSpPr>
        <p:grpSpPr>
          <a:xfrm>
            <a:off x="6883611" y="3709688"/>
            <a:ext cx="1022876" cy="962333"/>
            <a:chOff x="6883611" y="3709688"/>
            <a:chExt cx="1022876" cy="962333"/>
          </a:xfrm>
        </p:grpSpPr>
        <p:sp>
          <p:nvSpPr>
            <p:cNvPr id="467" name="Google Shape;467;p19"/>
            <p:cNvSpPr/>
            <p:nvPr/>
          </p:nvSpPr>
          <p:spPr>
            <a:xfrm>
              <a:off x="6923801" y="4362996"/>
              <a:ext cx="949481" cy="309026"/>
            </a:xfrm>
            <a:custGeom>
              <a:avLst/>
              <a:gdLst/>
              <a:ahLst/>
              <a:cxnLst/>
              <a:rect l="l" t="t" r="r" b="b"/>
              <a:pathLst>
                <a:path w="29625" h="9642" extrusionOk="0">
                  <a:moveTo>
                    <a:pt x="0" y="1"/>
                  </a:moveTo>
                  <a:lnTo>
                    <a:pt x="0" y="9642"/>
                  </a:lnTo>
                  <a:lnTo>
                    <a:pt x="29624" y="9642"/>
                  </a:lnTo>
                  <a:lnTo>
                    <a:pt x="2962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" name="Google Shape;468;p19"/>
            <p:cNvSpPr/>
            <p:nvPr/>
          </p:nvSpPr>
          <p:spPr>
            <a:xfrm>
              <a:off x="6883611" y="4276781"/>
              <a:ext cx="1022876" cy="86247"/>
            </a:xfrm>
            <a:custGeom>
              <a:avLst/>
              <a:gdLst/>
              <a:ahLst/>
              <a:cxnLst/>
              <a:rect l="l" t="t" r="r" b="b"/>
              <a:pathLst>
                <a:path w="31915" h="2691" extrusionOk="0">
                  <a:moveTo>
                    <a:pt x="1" y="1"/>
                  </a:moveTo>
                  <a:lnTo>
                    <a:pt x="1" y="2691"/>
                  </a:lnTo>
                  <a:lnTo>
                    <a:pt x="31914" y="2691"/>
                  </a:lnTo>
                  <a:lnTo>
                    <a:pt x="3191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" name="Google Shape;469;p19"/>
            <p:cNvSpPr/>
            <p:nvPr/>
          </p:nvSpPr>
          <p:spPr>
            <a:xfrm>
              <a:off x="7375226" y="4276781"/>
              <a:ext cx="531261" cy="395241"/>
            </a:xfrm>
            <a:custGeom>
              <a:avLst/>
              <a:gdLst/>
              <a:ahLst/>
              <a:cxnLst/>
              <a:rect l="l" t="t" r="r" b="b"/>
              <a:pathLst>
                <a:path w="16576" h="12332" extrusionOk="0">
                  <a:moveTo>
                    <a:pt x="0" y="1"/>
                  </a:moveTo>
                  <a:lnTo>
                    <a:pt x="0" y="2440"/>
                  </a:lnTo>
                  <a:lnTo>
                    <a:pt x="619" y="12332"/>
                  </a:lnTo>
                  <a:lnTo>
                    <a:pt x="15539" y="12332"/>
                  </a:lnTo>
                  <a:lnTo>
                    <a:pt x="15539" y="2691"/>
                  </a:lnTo>
                  <a:lnTo>
                    <a:pt x="16575" y="2691"/>
                  </a:lnTo>
                  <a:lnTo>
                    <a:pt x="16575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" name="Google Shape;470;p19"/>
            <p:cNvSpPr/>
            <p:nvPr/>
          </p:nvSpPr>
          <p:spPr>
            <a:xfrm>
              <a:off x="7056585" y="4412801"/>
              <a:ext cx="192300" cy="46633"/>
            </a:xfrm>
            <a:custGeom>
              <a:avLst/>
              <a:gdLst/>
              <a:ahLst/>
              <a:cxnLst/>
              <a:rect l="l" t="t" r="r" b="b"/>
              <a:pathLst>
                <a:path w="6000" h="1455" extrusionOk="0">
                  <a:moveTo>
                    <a:pt x="1" y="1"/>
                  </a:moveTo>
                  <a:lnTo>
                    <a:pt x="1" y="1454"/>
                  </a:lnTo>
                  <a:lnTo>
                    <a:pt x="5999" y="1454"/>
                  </a:lnTo>
                  <a:lnTo>
                    <a:pt x="5999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" name="Google Shape;471;p19"/>
            <p:cNvSpPr/>
            <p:nvPr/>
          </p:nvSpPr>
          <p:spPr>
            <a:xfrm>
              <a:off x="7031425" y="4517220"/>
              <a:ext cx="247426" cy="98586"/>
            </a:xfrm>
            <a:custGeom>
              <a:avLst/>
              <a:gdLst/>
              <a:ahLst/>
              <a:cxnLst/>
              <a:rect l="l" t="t" r="r" b="b"/>
              <a:pathLst>
                <a:path w="7720" h="3076" extrusionOk="0">
                  <a:moveTo>
                    <a:pt x="1" y="1"/>
                  </a:moveTo>
                  <a:lnTo>
                    <a:pt x="1" y="3075"/>
                  </a:lnTo>
                  <a:lnTo>
                    <a:pt x="7720" y="3075"/>
                  </a:lnTo>
                  <a:lnTo>
                    <a:pt x="7720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" name="Google Shape;472;p19"/>
            <p:cNvSpPr/>
            <p:nvPr/>
          </p:nvSpPr>
          <p:spPr>
            <a:xfrm>
              <a:off x="7156741" y="3820005"/>
              <a:ext cx="419342" cy="149449"/>
            </a:xfrm>
            <a:custGeom>
              <a:avLst/>
              <a:gdLst/>
              <a:ahLst/>
              <a:cxnLst/>
              <a:rect l="l" t="t" r="r" b="b"/>
              <a:pathLst>
                <a:path w="13084" h="4663" extrusionOk="0">
                  <a:moveTo>
                    <a:pt x="0" y="0"/>
                  </a:moveTo>
                  <a:lnTo>
                    <a:pt x="50" y="3626"/>
                  </a:lnTo>
                  <a:lnTo>
                    <a:pt x="13083" y="4662"/>
                  </a:lnTo>
                  <a:lnTo>
                    <a:pt x="13083" y="4662"/>
                  </a:lnTo>
                  <a:lnTo>
                    <a:pt x="12682" y="10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" name="Google Shape;473;p19"/>
            <p:cNvSpPr/>
            <p:nvPr/>
          </p:nvSpPr>
          <p:spPr>
            <a:xfrm>
              <a:off x="7244013" y="3872470"/>
              <a:ext cx="256015" cy="42883"/>
            </a:xfrm>
            <a:custGeom>
              <a:avLst/>
              <a:gdLst/>
              <a:ahLst/>
              <a:cxnLst/>
              <a:rect l="l" t="t" r="r" b="b"/>
              <a:pathLst>
                <a:path w="7988" h="1338" extrusionOk="0">
                  <a:moveTo>
                    <a:pt x="51" y="1"/>
                  </a:moveTo>
                  <a:lnTo>
                    <a:pt x="1" y="653"/>
                  </a:lnTo>
                  <a:lnTo>
                    <a:pt x="7937" y="1338"/>
                  </a:lnTo>
                  <a:lnTo>
                    <a:pt x="7988" y="686"/>
                  </a:lnTo>
                  <a:lnTo>
                    <a:pt x="5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" name="Google Shape;474;p19"/>
            <p:cNvSpPr/>
            <p:nvPr/>
          </p:nvSpPr>
          <p:spPr>
            <a:xfrm>
              <a:off x="7109627" y="3709688"/>
              <a:ext cx="416650" cy="143007"/>
            </a:xfrm>
            <a:custGeom>
              <a:avLst/>
              <a:gdLst/>
              <a:ahLst/>
              <a:cxnLst/>
              <a:rect l="l" t="t" r="r" b="b"/>
              <a:pathLst>
                <a:path w="13000" h="4462" extrusionOk="0">
                  <a:moveTo>
                    <a:pt x="0" y="1"/>
                  </a:moveTo>
                  <a:lnTo>
                    <a:pt x="0" y="3626"/>
                  </a:lnTo>
                  <a:lnTo>
                    <a:pt x="12999" y="4462"/>
                  </a:lnTo>
                  <a:lnTo>
                    <a:pt x="12665" y="122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" name="Google Shape;475;p19"/>
            <p:cNvSpPr/>
            <p:nvPr/>
          </p:nvSpPr>
          <p:spPr>
            <a:xfrm>
              <a:off x="7109627" y="3725233"/>
              <a:ext cx="395753" cy="107656"/>
            </a:xfrm>
            <a:custGeom>
              <a:avLst/>
              <a:gdLst/>
              <a:ahLst/>
              <a:cxnLst/>
              <a:rect l="l" t="t" r="r" b="b"/>
              <a:pathLst>
                <a:path w="12348" h="3359" extrusionOk="0">
                  <a:moveTo>
                    <a:pt x="0" y="0"/>
                  </a:moveTo>
                  <a:lnTo>
                    <a:pt x="0" y="2456"/>
                  </a:lnTo>
                  <a:lnTo>
                    <a:pt x="12348" y="3359"/>
                  </a:lnTo>
                  <a:lnTo>
                    <a:pt x="12130" y="11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" name="Google Shape;476;p19"/>
            <p:cNvSpPr/>
            <p:nvPr/>
          </p:nvSpPr>
          <p:spPr>
            <a:xfrm>
              <a:off x="7112832" y="3753917"/>
              <a:ext cx="362550" cy="37210"/>
            </a:xfrm>
            <a:custGeom>
              <a:avLst/>
              <a:gdLst/>
              <a:ahLst/>
              <a:cxnLst/>
              <a:rect l="l" t="t" r="r" b="b"/>
              <a:pathLst>
                <a:path w="11312" h="1161" extrusionOk="0">
                  <a:moveTo>
                    <a:pt x="132" y="0"/>
                  </a:moveTo>
                  <a:cubicBezTo>
                    <a:pt x="88" y="0"/>
                    <a:pt x="44" y="2"/>
                    <a:pt x="0" y="7"/>
                  </a:cubicBezTo>
                  <a:cubicBezTo>
                    <a:pt x="134" y="57"/>
                    <a:pt x="284" y="74"/>
                    <a:pt x="435" y="91"/>
                  </a:cubicBezTo>
                  <a:lnTo>
                    <a:pt x="1654" y="241"/>
                  </a:lnTo>
                  <a:cubicBezTo>
                    <a:pt x="2674" y="358"/>
                    <a:pt x="4077" y="509"/>
                    <a:pt x="5648" y="659"/>
                  </a:cubicBezTo>
                  <a:cubicBezTo>
                    <a:pt x="7202" y="826"/>
                    <a:pt x="8622" y="960"/>
                    <a:pt x="9641" y="1043"/>
                  </a:cubicBezTo>
                  <a:lnTo>
                    <a:pt x="10861" y="1144"/>
                  </a:lnTo>
                  <a:cubicBezTo>
                    <a:pt x="11011" y="1160"/>
                    <a:pt x="11162" y="1160"/>
                    <a:pt x="11312" y="1160"/>
                  </a:cubicBezTo>
                  <a:cubicBezTo>
                    <a:pt x="11162" y="1110"/>
                    <a:pt x="11011" y="1093"/>
                    <a:pt x="10861" y="1077"/>
                  </a:cubicBezTo>
                  <a:lnTo>
                    <a:pt x="9658" y="926"/>
                  </a:lnTo>
                  <a:cubicBezTo>
                    <a:pt x="8639" y="809"/>
                    <a:pt x="7218" y="659"/>
                    <a:pt x="5664" y="492"/>
                  </a:cubicBezTo>
                  <a:cubicBezTo>
                    <a:pt x="4094" y="342"/>
                    <a:pt x="2690" y="208"/>
                    <a:pt x="1654" y="124"/>
                  </a:cubicBezTo>
                  <a:lnTo>
                    <a:pt x="451" y="24"/>
                  </a:lnTo>
                  <a:cubicBezTo>
                    <a:pt x="345" y="12"/>
                    <a:pt x="239" y="0"/>
                    <a:pt x="132" y="0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" name="Google Shape;477;p19"/>
            <p:cNvSpPr/>
            <p:nvPr/>
          </p:nvSpPr>
          <p:spPr>
            <a:xfrm>
              <a:off x="7108538" y="3774622"/>
              <a:ext cx="365787" cy="26537"/>
            </a:xfrm>
            <a:custGeom>
              <a:avLst/>
              <a:gdLst/>
              <a:ahLst/>
              <a:cxnLst/>
              <a:rect l="l" t="t" r="r" b="b"/>
              <a:pathLst>
                <a:path w="11413" h="828" extrusionOk="0">
                  <a:moveTo>
                    <a:pt x="226" y="0"/>
                  </a:moveTo>
                  <a:cubicBezTo>
                    <a:pt x="151" y="0"/>
                    <a:pt x="76" y="5"/>
                    <a:pt x="1" y="13"/>
                  </a:cubicBezTo>
                  <a:cubicBezTo>
                    <a:pt x="134" y="46"/>
                    <a:pt x="285" y="80"/>
                    <a:pt x="435" y="80"/>
                  </a:cubicBezTo>
                  <a:lnTo>
                    <a:pt x="1655" y="197"/>
                  </a:lnTo>
                  <a:cubicBezTo>
                    <a:pt x="2691" y="280"/>
                    <a:pt x="4128" y="397"/>
                    <a:pt x="5698" y="498"/>
                  </a:cubicBezTo>
                  <a:cubicBezTo>
                    <a:pt x="7269" y="614"/>
                    <a:pt x="8706" y="698"/>
                    <a:pt x="9742" y="748"/>
                  </a:cubicBezTo>
                  <a:lnTo>
                    <a:pt x="10961" y="815"/>
                  </a:lnTo>
                  <a:cubicBezTo>
                    <a:pt x="11037" y="823"/>
                    <a:pt x="11112" y="828"/>
                    <a:pt x="11187" y="828"/>
                  </a:cubicBezTo>
                  <a:cubicBezTo>
                    <a:pt x="11262" y="828"/>
                    <a:pt x="11337" y="823"/>
                    <a:pt x="11413" y="815"/>
                  </a:cubicBezTo>
                  <a:cubicBezTo>
                    <a:pt x="11262" y="782"/>
                    <a:pt x="11112" y="748"/>
                    <a:pt x="10961" y="748"/>
                  </a:cubicBezTo>
                  <a:lnTo>
                    <a:pt x="9742" y="631"/>
                  </a:lnTo>
                  <a:cubicBezTo>
                    <a:pt x="8706" y="548"/>
                    <a:pt x="7286" y="447"/>
                    <a:pt x="5715" y="330"/>
                  </a:cubicBezTo>
                  <a:cubicBezTo>
                    <a:pt x="4128" y="213"/>
                    <a:pt x="2707" y="130"/>
                    <a:pt x="1671" y="80"/>
                  </a:cubicBezTo>
                  <a:lnTo>
                    <a:pt x="452" y="13"/>
                  </a:lnTo>
                  <a:cubicBezTo>
                    <a:pt x="377" y="5"/>
                    <a:pt x="301" y="0"/>
                    <a:pt x="226" y="0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" name="Google Shape;478;p19"/>
            <p:cNvSpPr/>
            <p:nvPr/>
          </p:nvSpPr>
          <p:spPr>
            <a:xfrm>
              <a:off x="7161548" y="3927116"/>
              <a:ext cx="418285" cy="137655"/>
            </a:xfrm>
            <a:custGeom>
              <a:avLst/>
              <a:gdLst/>
              <a:ahLst/>
              <a:cxnLst/>
              <a:rect l="l" t="t" r="r" b="b"/>
              <a:pathLst>
                <a:path w="13051" h="4295" extrusionOk="0">
                  <a:moveTo>
                    <a:pt x="1" y="0"/>
                  </a:moveTo>
                  <a:lnTo>
                    <a:pt x="34" y="3609"/>
                  </a:lnTo>
                  <a:lnTo>
                    <a:pt x="13050" y="4294"/>
                  </a:lnTo>
                  <a:lnTo>
                    <a:pt x="12683" y="107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" name="Google Shape;479;p19"/>
            <p:cNvSpPr/>
            <p:nvPr/>
          </p:nvSpPr>
          <p:spPr>
            <a:xfrm>
              <a:off x="7201194" y="3930865"/>
              <a:ext cx="8045" cy="114611"/>
            </a:xfrm>
            <a:custGeom>
              <a:avLst/>
              <a:gdLst/>
              <a:ahLst/>
              <a:cxnLst/>
              <a:rect l="l" t="t" r="r" b="b"/>
              <a:pathLst>
                <a:path w="251" h="3576" extrusionOk="0">
                  <a:moveTo>
                    <a:pt x="67" y="0"/>
                  </a:moveTo>
                  <a:cubicBezTo>
                    <a:pt x="17" y="0"/>
                    <a:pt x="0" y="802"/>
                    <a:pt x="50" y="1788"/>
                  </a:cubicBezTo>
                  <a:cubicBezTo>
                    <a:pt x="84" y="2774"/>
                    <a:pt x="151" y="3576"/>
                    <a:pt x="201" y="3576"/>
                  </a:cubicBezTo>
                  <a:cubicBezTo>
                    <a:pt x="251" y="3576"/>
                    <a:pt x="251" y="2774"/>
                    <a:pt x="217" y="1788"/>
                  </a:cubicBezTo>
                  <a:cubicBezTo>
                    <a:pt x="184" y="802"/>
                    <a:pt x="117" y="0"/>
                    <a:pt x="67" y="0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" name="Google Shape;480;p19"/>
            <p:cNvSpPr/>
            <p:nvPr/>
          </p:nvSpPr>
          <p:spPr>
            <a:xfrm>
              <a:off x="7221001" y="3931923"/>
              <a:ext cx="6442" cy="114643"/>
            </a:xfrm>
            <a:custGeom>
              <a:avLst/>
              <a:gdLst/>
              <a:ahLst/>
              <a:cxnLst/>
              <a:rect l="l" t="t" r="r" b="b"/>
              <a:pathLst>
                <a:path w="201" h="3577" extrusionOk="0">
                  <a:moveTo>
                    <a:pt x="67" y="1"/>
                  </a:moveTo>
                  <a:cubicBezTo>
                    <a:pt x="17" y="1"/>
                    <a:pt x="0" y="803"/>
                    <a:pt x="17" y="1788"/>
                  </a:cubicBezTo>
                  <a:cubicBezTo>
                    <a:pt x="34" y="2774"/>
                    <a:pt x="84" y="3576"/>
                    <a:pt x="134" y="3576"/>
                  </a:cubicBezTo>
                  <a:cubicBezTo>
                    <a:pt x="184" y="3576"/>
                    <a:pt x="201" y="2774"/>
                    <a:pt x="184" y="1788"/>
                  </a:cubicBezTo>
                  <a:cubicBezTo>
                    <a:pt x="167" y="803"/>
                    <a:pt x="101" y="1"/>
                    <a:pt x="67" y="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" name="Google Shape;481;p19"/>
            <p:cNvSpPr/>
            <p:nvPr/>
          </p:nvSpPr>
          <p:spPr>
            <a:xfrm>
              <a:off x="7260102" y="3983331"/>
              <a:ext cx="226017" cy="18781"/>
            </a:xfrm>
            <a:custGeom>
              <a:avLst/>
              <a:gdLst/>
              <a:ahLst/>
              <a:cxnLst/>
              <a:rect l="l" t="t" r="r" b="b"/>
              <a:pathLst>
                <a:path w="7052" h="586" extrusionOk="0">
                  <a:moveTo>
                    <a:pt x="0" y="1"/>
                  </a:moveTo>
                  <a:cubicBezTo>
                    <a:pt x="1709" y="182"/>
                    <a:pt x="3659" y="313"/>
                    <a:pt x="5493" y="456"/>
                  </a:cubicBezTo>
                  <a:lnTo>
                    <a:pt x="5493" y="456"/>
                  </a:lnTo>
                  <a:lnTo>
                    <a:pt x="0" y="1"/>
                  </a:lnTo>
                  <a:close/>
                  <a:moveTo>
                    <a:pt x="5493" y="456"/>
                  </a:moveTo>
                  <a:lnTo>
                    <a:pt x="7051" y="585"/>
                  </a:lnTo>
                  <a:cubicBezTo>
                    <a:pt x="6547" y="540"/>
                    <a:pt x="6025" y="498"/>
                    <a:pt x="5493" y="45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" name="Google Shape;482;p19"/>
            <p:cNvSpPr/>
            <p:nvPr/>
          </p:nvSpPr>
          <p:spPr>
            <a:xfrm>
              <a:off x="7260102" y="3983139"/>
              <a:ext cx="226017" cy="19166"/>
            </a:xfrm>
            <a:custGeom>
              <a:avLst/>
              <a:gdLst/>
              <a:ahLst/>
              <a:cxnLst/>
              <a:rect l="l" t="t" r="r" b="b"/>
              <a:pathLst>
                <a:path w="7052" h="598" extrusionOk="0">
                  <a:moveTo>
                    <a:pt x="279" y="0"/>
                  </a:moveTo>
                  <a:cubicBezTo>
                    <a:pt x="187" y="0"/>
                    <a:pt x="94" y="2"/>
                    <a:pt x="0" y="7"/>
                  </a:cubicBezTo>
                  <a:cubicBezTo>
                    <a:pt x="334" y="90"/>
                    <a:pt x="668" y="140"/>
                    <a:pt x="1019" y="174"/>
                  </a:cubicBezTo>
                  <a:cubicBezTo>
                    <a:pt x="1654" y="241"/>
                    <a:pt x="2540" y="324"/>
                    <a:pt x="3526" y="391"/>
                  </a:cubicBezTo>
                  <a:cubicBezTo>
                    <a:pt x="4495" y="474"/>
                    <a:pt x="5380" y="525"/>
                    <a:pt x="6015" y="558"/>
                  </a:cubicBezTo>
                  <a:cubicBezTo>
                    <a:pt x="6272" y="582"/>
                    <a:pt x="6529" y="598"/>
                    <a:pt x="6779" y="598"/>
                  </a:cubicBezTo>
                  <a:cubicBezTo>
                    <a:pt x="6871" y="598"/>
                    <a:pt x="6962" y="596"/>
                    <a:pt x="7051" y="591"/>
                  </a:cubicBezTo>
                  <a:cubicBezTo>
                    <a:pt x="6717" y="508"/>
                    <a:pt x="6366" y="458"/>
                    <a:pt x="6032" y="441"/>
                  </a:cubicBezTo>
                  <a:cubicBezTo>
                    <a:pt x="5397" y="374"/>
                    <a:pt x="4511" y="307"/>
                    <a:pt x="3526" y="224"/>
                  </a:cubicBezTo>
                  <a:lnTo>
                    <a:pt x="1036" y="40"/>
                  </a:lnTo>
                  <a:cubicBezTo>
                    <a:pt x="779" y="16"/>
                    <a:pt x="531" y="0"/>
                    <a:pt x="279" y="0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" name="Google Shape;483;p19"/>
            <p:cNvSpPr/>
            <p:nvPr/>
          </p:nvSpPr>
          <p:spPr>
            <a:xfrm>
              <a:off x="7509098" y="3957627"/>
              <a:ext cx="8589" cy="103938"/>
            </a:xfrm>
            <a:custGeom>
              <a:avLst/>
              <a:gdLst/>
              <a:ahLst/>
              <a:cxnLst/>
              <a:rect l="l" t="t" r="r" b="b"/>
              <a:pathLst>
                <a:path w="268" h="3243" extrusionOk="0">
                  <a:moveTo>
                    <a:pt x="51" y="1"/>
                  </a:moveTo>
                  <a:cubicBezTo>
                    <a:pt x="1" y="1"/>
                    <a:pt x="1" y="736"/>
                    <a:pt x="51" y="1621"/>
                  </a:cubicBezTo>
                  <a:cubicBezTo>
                    <a:pt x="101" y="2524"/>
                    <a:pt x="168" y="3242"/>
                    <a:pt x="218" y="3242"/>
                  </a:cubicBezTo>
                  <a:cubicBezTo>
                    <a:pt x="268" y="3242"/>
                    <a:pt x="268" y="2507"/>
                    <a:pt x="218" y="1621"/>
                  </a:cubicBezTo>
                  <a:cubicBezTo>
                    <a:pt x="184" y="719"/>
                    <a:pt x="101" y="1"/>
                    <a:pt x="51" y="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" name="Google Shape;484;p19"/>
            <p:cNvSpPr/>
            <p:nvPr/>
          </p:nvSpPr>
          <p:spPr>
            <a:xfrm>
              <a:off x="7529450" y="3958717"/>
              <a:ext cx="12884" cy="104451"/>
            </a:xfrm>
            <a:custGeom>
              <a:avLst/>
              <a:gdLst/>
              <a:ahLst/>
              <a:cxnLst/>
              <a:rect l="l" t="t" r="r" b="b"/>
              <a:pathLst>
                <a:path w="402" h="3259" extrusionOk="0">
                  <a:moveTo>
                    <a:pt x="34" y="0"/>
                  </a:moveTo>
                  <a:lnTo>
                    <a:pt x="34" y="0"/>
                  </a:lnTo>
                  <a:cubicBezTo>
                    <a:pt x="1" y="17"/>
                    <a:pt x="34" y="735"/>
                    <a:pt x="117" y="1637"/>
                  </a:cubicBezTo>
                  <a:cubicBezTo>
                    <a:pt x="201" y="2540"/>
                    <a:pt x="318" y="3258"/>
                    <a:pt x="368" y="3258"/>
                  </a:cubicBezTo>
                  <a:cubicBezTo>
                    <a:pt x="402" y="3241"/>
                    <a:pt x="368" y="2523"/>
                    <a:pt x="285" y="1621"/>
                  </a:cubicBezTo>
                  <a:cubicBezTo>
                    <a:pt x="201" y="718"/>
                    <a:pt x="84" y="0"/>
                    <a:pt x="34" y="0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" name="Google Shape;485;p19"/>
            <p:cNvSpPr/>
            <p:nvPr/>
          </p:nvSpPr>
          <p:spPr>
            <a:xfrm>
              <a:off x="7320068" y="4009035"/>
              <a:ext cx="115156" cy="6474"/>
            </a:xfrm>
            <a:custGeom>
              <a:avLst/>
              <a:gdLst/>
              <a:ahLst/>
              <a:cxnLst/>
              <a:rect l="l" t="t" r="r" b="b"/>
              <a:pathLst>
                <a:path w="3593" h="202" extrusionOk="0">
                  <a:moveTo>
                    <a:pt x="0" y="1"/>
                  </a:moveTo>
                  <a:lnTo>
                    <a:pt x="0" y="1"/>
                  </a:lnTo>
                  <a:cubicBezTo>
                    <a:pt x="1404" y="101"/>
                    <a:pt x="2473" y="168"/>
                    <a:pt x="3593" y="20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" name="Google Shape;486;p19"/>
            <p:cNvSpPr/>
            <p:nvPr/>
          </p:nvSpPr>
          <p:spPr>
            <a:xfrm>
              <a:off x="7320068" y="4008074"/>
              <a:ext cx="115156" cy="8397"/>
            </a:xfrm>
            <a:custGeom>
              <a:avLst/>
              <a:gdLst/>
              <a:ahLst/>
              <a:cxnLst/>
              <a:rect l="l" t="t" r="r" b="b"/>
              <a:pathLst>
                <a:path w="3593" h="262" extrusionOk="0">
                  <a:moveTo>
                    <a:pt x="394" y="0"/>
                  </a:moveTo>
                  <a:cubicBezTo>
                    <a:pt x="158" y="0"/>
                    <a:pt x="17" y="10"/>
                    <a:pt x="17" y="31"/>
                  </a:cubicBezTo>
                  <a:cubicBezTo>
                    <a:pt x="0" y="81"/>
                    <a:pt x="802" y="164"/>
                    <a:pt x="1788" y="214"/>
                  </a:cubicBezTo>
                  <a:cubicBezTo>
                    <a:pt x="2361" y="244"/>
                    <a:pt x="2878" y="261"/>
                    <a:pt x="3210" y="261"/>
                  </a:cubicBezTo>
                  <a:cubicBezTo>
                    <a:pt x="3449" y="261"/>
                    <a:pt x="3593" y="252"/>
                    <a:pt x="3593" y="231"/>
                  </a:cubicBezTo>
                  <a:cubicBezTo>
                    <a:pt x="3593" y="181"/>
                    <a:pt x="2791" y="97"/>
                    <a:pt x="1805" y="47"/>
                  </a:cubicBezTo>
                  <a:cubicBezTo>
                    <a:pt x="1232" y="18"/>
                    <a:pt x="721" y="0"/>
                    <a:pt x="394" y="0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" name="Google Shape;487;p19"/>
            <p:cNvSpPr/>
            <p:nvPr/>
          </p:nvSpPr>
          <p:spPr>
            <a:xfrm>
              <a:off x="7182445" y="4153613"/>
              <a:ext cx="425207" cy="115700"/>
            </a:xfrm>
            <a:custGeom>
              <a:avLst/>
              <a:gdLst/>
              <a:ahLst/>
              <a:cxnLst/>
              <a:rect l="l" t="t" r="r" b="b"/>
              <a:pathLst>
                <a:path w="13267" h="3610" extrusionOk="0">
                  <a:moveTo>
                    <a:pt x="0" y="1"/>
                  </a:moveTo>
                  <a:lnTo>
                    <a:pt x="234" y="3610"/>
                  </a:lnTo>
                  <a:lnTo>
                    <a:pt x="13267" y="3610"/>
                  </a:lnTo>
                  <a:lnTo>
                    <a:pt x="12732" y="402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" name="Google Shape;488;p19"/>
            <p:cNvSpPr/>
            <p:nvPr/>
          </p:nvSpPr>
          <p:spPr>
            <a:xfrm>
              <a:off x="7199047" y="4170215"/>
              <a:ext cx="404343" cy="84644"/>
            </a:xfrm>
            <a:custGeom>
              <a:avLst/>
              <a:gdLst/>
              <a:ahLst/>
              <a:cxnLst/>
              <a:rect l="l" t="t" r="r" b="b"/>
              <a:pathLst>
                <a:path w="12616" h="2641" extrusionOk="0">
                  <a:moveTo>
                    <a:pt x="0" y="1"/>
                  </a:moveTo>
                  <a:lnTo>
                    <a:pt x="234" y="2641"/>
                  </a:lnTo>
                  <a:lnTo>
                    <a:pt x="12615" y="2474"/>
                  </a:lnTo>
                  <a:lnTo>
                    <a:pt x="12264" y="21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" name="Google Shape;489;p19"/>
            <p:cNvSpPr/>
            <p:nvPr/>
          </p:nvSpPr>
          <p:spPr>
            <a:xfrm>
              <a:off x="7197444" y="4040092"/>
              <a:ext cx="420945" cy="129642"/>
            </a:xfrm>
            <a:custGeom>
              <a:avLst/>
              <a:gdLst/>
              <a:ahLst/>
              <a:cxnLst/>
              <a:rect l="l" t="t" r="r" b="b"/>
              <a:pathLst>
                <a:path w="13134" h="4045" extrusionOk="0">
                  <a:moveTo>
                    <a:pt x="0" y="1"/>
                  </a:moveTo>
                  <a:lnTo>
                    <a:pt x="117" y="3610"/>
                  </a:lnTo>
                  <a:lnTo>
                    <a:pt x="13133" y="4044"/>
                  </a:lnTo>
                  <a:lnTo>
                    <a:pt x="12715" y="83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" name="Google Shape;490;p19"/>
            <p:cNvSpPr/>
            <p:nvPr/>
          </p:nvSpPr>
          <p:spPr>
            <a:xfrm>
              <a:off x="7286319" y="4090987"/>
              <a:ext cx="256015" cy="37499"/>
            </a:xfrm>
            <a:custGeom>
              <a:avLst/>
              <a:gdLst/>
              <a:ahLst/>
              <a:cxnLst/>
              <a:rect l="l" t="t" r="r" b="b"/>
              <a:pathLst>
                <a:path w="7988" h="1170" extrusionOk="0">
                  <a:moveTo>
                    <a:pt x="34" y="0"/>
                  </a:moveTo>
                  <a:lnTo>
                    <a:pt x="1" y="652"/>
                  </a:lnTo>
                  <a:lnTo>
                    <a:pt x="7937" y="1170"/>
                  </a:lnTo>
                  <a:lnTo>
                    <a:pt x="7988" y="518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" name="Google Shape;491;p19"/>
            <p:cNvSpPr/>
            <p:nvPr/>
          </p:nvSpPr>
          <p:spPr>
            <a:xfrm>
              <a:off x="7200104" y="4204797"/>
              <a:ext cx="396330" cy="5609"/>
            </a:xfrm>
            <a:custGeom>
              <a:avLst/>
              <a:gdLst/>
              <a:ahLst/>
              <a:cxnLst/>
              <a:rect l="l" t="t" r="r" b="b"/>
              <a:pathLst>
                <a:path w="12366" h="175" extrusionOk="0">
                  <a:moveTo>
                    <a:pt x="7822" y="0"/>
                  </a:moveTo>
                  <a:cubicBezTo>
                    <a:pt x="7301" y="0"/>
                    <a:pt x="6751" y="2"/>
                    <a:pt x="6183" y="8"/>
                  </a:cubicBezTo>
                  <a:cubicBezTo>
                    <a:pt x="4462" y="8"/>
                    <a:pt x="2925" y="25"/>
                    <a:pt x="1805" y="41"/>
                  </a:cubicBezTo>
                  <a:lnTo>
                    <a:pt x="485" y="75"/>
                  </a:lnTo>
                  <a:cubicBezTo>
                    <a:pt x="318" y="75"/>
                    <a:pt x="151" y="91"/>
                    <a:pt x="1" y="108"/>
                  </a:cubicBezTo>
                  <a:cubicBezTo>
                    <a:pt x="111" y="133"/>
                    <a:pt x="230" y="148"/>
                    <a:pt x="351" y="148"/>
                  </a:cubicBezTo>
                  <a:cubicBezTo>
                    <a:pt x="396" y="148"/>
                    <a:pt x="441" y="146"/>
                    <a:pt x="485" y="142"/>
                  </a:cubicBezTo>
                  <a:lnTo>
                    <a:pt x="1805" y="175"/>
                  </a:lnTo>
                  <a:lnTo>
                    <a:pt x="6183" y="175"/>
                  </a:lnTo>
                  <a:cubicBezTo>
                    <a:pt x="7887" y="175"/>
                    <a:pt x="9424" y="158"/>
                    <a:pt x="10544" y="142"/>
                  </a:cubicBezTo>
                  <a:lnTo>
                    <a:pt x="11881" y="108"/>
                  </a:lnTo>
                  <a:cubicBezTo>
                    <a:pt x="12031" y="108"/>
                    <a:pt x="12198" y="91"/>
                    <a:pt x="12365" y="75"/>
                  </a:cubicBezTo>
                  <a:cubicBezTo>
                    <a:pt x="12243" y="50"/>
                    <a:pt x="12120" y="35"/>
                    <a:pt x="12005" y="35"/>
                  </a:cubicBezTo>
                  <a:cubicBezTo>
                    <a:pt x="11962" y="35"/>
                    <a:pt x="11921" y="37"/>
                    <a:pt x="11881" y="41"/>
                  </a:cubicBezTo>
                  <a:lnTo>
                    <a:pt x="10544" y="8"/>
                  </a:lnTo>
                  <a:cubicBezTo>
                    <a:pt x="9798" y="8"/>
                    <a:pt x="8866" y="0"/>
                    <a:pt x="7822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19"/>
            <p:cNvSpPr/>
            <p:nvPr/>
          </p:nvSpPr>
          <p:spPr>
            <a:xfrm>
              <a:off x="7201707" y="4222713"/>
              <a:ext cx="399535" cy="8045"/>
            </a:xfrm>
            <a:custGeom>
              <a:avLst/>
              <a:gdLst/>
              <a:ahLst/>
              <a:cxnLst/>
              <a:rect l="l" t="t" r="r" b="b"/>
              <a:pathLst>
                <a:path w="12466" h="251" extrusionOk="0">
                  <a:moveTo>
                    <a:pt x="1822" y="0"/>
                  </a:moveTo>
                  <a:lnTo>
                    <a:pt x="502" y="17"/>
                  </a:lnTo>
                  <a:cubicBezTo>
                    <a:pt x="453" y="12"/>
                    <a:pt x="404" y="10"/>
                    <a:pt x="355" y="10"/>
                  </a:cubicBezTo>
                  <a:cubicBezTo>
                    <a:pt x="237" y="10"/>
                    <a:pt x="119" y="22"/>
                    <a:pt x="1" y="34"/>
                  </a:cubicBezTo>
                  <a:cubicBezTo>
                    <a:pt x="168" y="67"/>
                    <a:pt x="335" y="84"/>
                    <a:pt x="502" y="84"/>
                  </a:cubicBezTo>
                  <a:lnTo>
                    <a:pt x="1822" y="117"/>
                  </a:lnTo>
                  <a:cubicBezTo>
                    <a:pt x="2958" y="151"/>
                    <a:pt x="4512" y="184"/>
                    <a:pt x="6233" y="201"/>
                  </a:cubicBezTo>
                  <a:cubicBezTo>
                    <a:pt x="7954" y="234"/>
                    <a:pt x="9508" y="251"/>
                    <a:pt x="10628" y="251"/>
                  </a:cubicBezTo>
                  <a:lnTo>
                    <a:pt x="11964" y="234"/>
                  </a:lnTo>
                  <a:cubicBezTo>
                    <a:pt x="12131" y="234"/>
                    <a:pt x="12298" y="234"/>
                    <a:pt x="12465" y="218"/>
                  </a:cubicBezTo>
                  <a:cubicBezTo>
                    <a:pt x="12298" y="184"/>
                    <a:pt x="12131" y="167"/>
                    <a:pt x="11964" y="167"/>
                  </a:cubicBezTo>
                  <a:lnTo>
                    <a:pt x="10628" y="117"/>
                  </a:lnTo>
                  <a:cubicBezTo>
                    <a:pt x="9508" y="101"/>
                    <a:pt x="7954" y="67"/>
                    <a:pt x="6233" y="34"/>
                  </a:cubicBezTo>
                  <a:cubicBezTo>
                    <a:pt x="4512" y="17"/>
                    <a:pt x="2958" y="0"/>
                    <a:pt x="1822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2">
  <p:cSld name="CUSTOM_12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20"/>
          <p:cNvSpPr/>
          <p:nvPr/>
        </p:nvSpPr>
        <p:spPr>
          <a:xfrm>
            <a:off x="-731" y="4672701"/>
            <a:ext cx="9143833" cy="475558"/>
          </a:xfrm>
          <a:custGeom>
            <a:avLst/>
            <a:gdLst/>
            <a:ahLst/>
            <a:cxnLst/>
            <a:rect l="l" t="t" r="r" b="b"/>
            <a:pathLst>
              <a:path w="285299" h="14838" extrusionOk="0">
                <a:moveTo>
                  <a:pt x="0" y="1"/>
                </a:moveTo>
                <a:lnTo>
                  <a:pt x="0" y="14838"/>
                </a:lnTo>
                <a:lnTo>
                  <a:pt x="285299" y="14838"/>
                </a:lnTo>
                <a:lnTo>
                  <a:pt x="285299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95" name="Google Shape;495;p20"/>
          <p:cNvGrpSpPr/>
          <p:nvPr/>
        </p:nvGrpSpPr>
        <p:grpSpPr>
          <a:xfrm>
            <a:off x="5785478" y="4058671"/>
            <a:ext cx="1631212" cy="672622"/>
            <a:chOff x="6792778" y="4058671"/>
            <a:chExt cx="1631212" cy="672622"/>
          </a:xfrm>
        </p:grpSpPr>
        <p:sp>
          <p:nvSpPr>
            <p:cNvPr id="496" name="Google Shape;496;p20"/>
            <p:cNvSpPr/>
            <p:nvPr/>
          </p:nvSpPr>
          <p:spPr>
            <a:xfrm rot="-288774">
              <a:off x="6869524" y="4438902"/>
              <a:ext cx="732933" cy="262106"/>
            </a:xfrm>
            <a:custGeom>
              <a:avLst/>
              <a:gdLst/>
              <a:ahLst/>
              <a:cxnLst/>
              <a:rect l="l" t="t" r="r" b="b"/>
              <a:pathLst>
                <a:path w="13084" h="4679" extrusionOk="0">
                  <a:moveTo>
                    <a:pt x="1" y="0"/>
                  </a:moveTo>
                  <a:lnTo>
                    <a:pt x="51" y="3626"/>
                  </a:lnTo>
                  <a:lnTo>
                    <a:pt x="13083" y="4679"/>
                  </a:lnTo>
                  <a:lnTo>
                    <a:pt x="12682" y="110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" name="Google Shape;497;p20"/>
            <p:cNvSpPr/>
            <p:nvPr/>
          </p:nvSpPr>
          <p:spPr>
            <a:xfrm rot="-288774">
              <a:off x="7021962" y="4530734"/>
              <a:ext cx="447412" cy="73999"/>
            </a:xfrm>
            <a:custGeom>
              <a:avLst/>
              <a:gdLst/>
              <a:ahLst/>
              <a:cxnLst/>
              <a:rect l="l" t="t" r="r" b="b"/>
              <a:pathLst>
                <a:path w="7987" h="1321" extrusionOk="0">
                  <a:moveTo>
                    <a:pt x="50" y="0"/>
                  </a:moveTo>
                  <a:lnTo>
                    <a:pt x="0" y="652"/>
                  </a:lnTo>
                  <a:lnTo>
                    <a:pt x="7937" y="1320"/>
                  </a:lnTo>
                  <a:lnTo>
                    <a:pt x="7987" y="669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" name="Google Shape;498;p20"/>
            <p:cNvSpPr/>
            <p:nvPr/>
          </p:nvSpPr>
          <p:spPr>
            <a:xfrm rot="-148560">
              <a:off x="6797653" y="4074349"/>
              <a:ext cx="731026" cy="241491"/>
            </a:xfrm>
            <a:custGeom>
              <a:avLst/>
              <a:gdLst/>
              <a:ahLst/>
              <a:cxnLst/>
              <a:rect l="l" t="t" r="r" b="b"/>
              <a:pathLst>
                <a:path w="13050" h="4311" extrusionOk="0">
                  <a:moveTo>
                    <a:pt x="0" y="0"/>
                  </a:moveTo>
                  <a:lnTo>
                    <a:pt x="33" y="3626"/>
                  </a:lnTo>
                  <a:lnTo>
                    <a:pt x="13049" y="4311"/>
                  </a:lnTo>
                  <a:lnTo>
                    <a:pt x="12682" y="10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20"/>
            <p:cNvSpPr/>
            <p:nvPr/>
          </p:nvSpPr>
          <p:spPr>
            <a:xfrm rot="-148560">
              <a:off x="6969582" y="4172428"/>
              <a:ext cx="395034" cy="32826"/>
            </a:xfrm>
            <a:custGeom>
              <a:avLst/>
              <a:gdLst/>
              <a:ahLst/>
              <a:cxnLst/>
              <a:rect l="l" t="t" r="r" b="b"/>
              <a:pathLst>
                <a:path w="7052" h="586" extrusionOk="0">
                  <a:moveTo>
                    <a:pt x="0" y="0"/>
                  </a:moveTo>
                  <a:lnTo>
                    <a:pt x="0" y="0"/>
                  </a:lnTo>
                  <a:cubicBezTo>
                    <a:pt x="1810" y="206"/>
                    <a:pt x="3890" y="333"/>
                    <a:pt x="5815" y="483"/>
                  </a:cubicBezTo>
                  <a:lnTo>
                    <a:pt x="5815" y="483"/>
                  </a:lnTo>
                  <a:lnTo>
                    <a:pt x="0" y="0"/>
                  </a:lnTo>
                  <a:close/>
                  <a:moveTo>
                    <a:pt x="5815" y="483"/>
                  </a:moveTo>
                  <a:lnTo>
                    <a:pt x="7051" y="585"/>
                  </a:lnTo>
                  <a:cubicBezTo>
                    <a:pt x="6650" y="549"/>
                    <a:pt x="6236" y="515"/>
                    <a:pt x="5815" y="48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20"/>
            <p:cNvSpPr/>
            <p:nvPr/>
          </p:nvSpPr>
          <p:spPr>
            <a:xfrm rot="-148560">
              <a:off x="6969595" y="4172428"/>
              <a:ext cx="395034" cy="33442"/>
            </a:xfrm>
            <a:custGeom>
              <a:avLst/>
              <a:gdLst/>
              <a:ahLst/>
              <a:cxnLst/>
              <a:rect l="l" t="t" r="r" b="b"/>
              <a:pathLst>
                <a:path w="7052" h="597" extrusionOk="0">
                  <a:moveTo>
                    <a:pt x="0" y="0"/>
                  </a:moveTo>
                  <a:cubicBezTo>
                    <a:pt x="335" y="101"/>
                    <a:pt x="669" y="151"/>
                    <a:pt x="1020" y="167"/>
                  </a:cubicBezTo>
                  <a:cubicBezTo>
                    <a:pt x="1655" y="251"/>
                    <a:pt x="2540" y="335"/>
                    <a:pt x="3526" y="401"/>
                  </a:cubicBezTo>
                  <a:cubicBezTo>
                    <a:pt x="4495" y="468"/>
                    <a:pt x="5381" y="535"/>
                    <a:pt x="6015" y="568"/>
                  </a:cubicBezTo>
                  <a:cubicBezTo>
                    <a:pt x="6221" y="588"/>
                    <a:pt x="6427" y="596"/>
                    <a:pt x="6629" y="596"/>
                  </a:cubicBezTo>
                  <a:cubicBezTo>
                    <a:pt x="6772" y="596"/>
                    <a:pt x="6913" y="592"/>
                    <a:pt x="7051" y="585"/>
                  </a:cubicBezTo>
                  <a:cubicBezTo>
                    <a:pt x="6717" y="518"/>
                    <a:pt x="6366" y="468"/>
                    <a:pt x="6032" y="452"/>
                  </a:cubicBezTo>
                  <a:cubicBezTo>
                    <a:pt x="5397" y="385"/>
                    <a:pt x="4512" y="301"/>
                    <a:pt x="3526" y="234"/>
                  </a:cubicBezTo>
                  <a:lnTo>
                    <a:pt x="1036" y="51"/>
                  </a:lnTo>
                  <a:cubicBezTo>
                    <a:pt x="685" y="17"/>
                    <a:pt x="351" y="0"/>
                    <a:pt x="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20"/>
            <p:cNvSpPr/>
            <p:nvPr/>
          </p:nvSpPr>
          <p:spPr>
            <a:xfrm rot="-148560">
              <a:off x="7405864" y="4117837"/>
              <a:ext cx="15069" cy="181608"/>
            </a:xfrm>
            <a:custGeom>
              <a:avLst/>
              <a:gdLst/>
              <a:ahLst/>
              <a:cxnLst/>
              <a:rect l="l" t="t" r="r" b="b"/>
              <a:pathLst>
                <a:path w="269" h="3242" extrusionOk="0">
                  <a:moveTo>
                    <a:pt x="51" y="0"/>
                  </a:moveTo>
                  <a:cubicBezTo>
                    <a:pt x="1" y="0"/>
                    <a:pt x="1" y="719"/>
                    <a:pt x="51" y="1621"/>
                  </a:cubicBezTo>
                  <a:cubicBezTo>
                    <a:pt x="101" y="2523"/>
                    <a:pt x="168" y="3242"/>
                    <a:pt x="218" y="3242"/>
                  </a:cubicBezTo>
                  <a:cubicBezTo>
                    <a:pt x="268" y="3242"/>
                    <a:pt x="268" y="2506"/>
                    <a:pt x="218" y="1621"/>
                  </a:cubicBezTo>
                  <a:cubicBezTo>
                    <a:pt x="185" y="719"/>
                    <a:pt x="101" y="0"/>
                    <a:pt x="51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" name="Google Shape;502;p20"/>
            <p:cNvSpPr/>
            <p:nvPr/>
          </p:nvSpPr>
          <p:spPr>
            <a:xfrm rot="-148560">
              <a:off x="7441478" y="4117986"/>
              <a:ext cx="22519" cy="181608"/>
            </a:xfrm>
            <a:custGeom>
              <a:avLst/>
              <a:gdLst/>
              <a:ahLst/>
              <a:cxnLst/>
              <a:rect l="l" t="t" r="r" b="b"/>
              <a:pathLst>
                <a:path w="402" h="3242" extrusionOk="0">
                  <a:moveTo>
                    <a:pt x="34" y="1"/>
                  </a:moveTo>
                  <a:cubicBezTo>
                    <a:pt x="1" y="1"/>
                    <a:pt x="34" y="736"/>
                    <a:pt x="118" y="1638"/>
                  </a:cubicBezTo>
                  <a:cubicBezTo>
                    <a:pt x="201" y="2523"/>
                    <a:pt x="318" y="3242"/>
                    <a:pt x="368" y="3242"/>
                  </a:cubicBezTo>
                  <a:cubicBezTo>
                    <a:pt x="402" y="3242"/>
                    <a:pt x="368" y="2507"/>
                    <a:pt x="285" y="1621"/>
                  </a:cubicBezTo>
                  <a:cubicBezTo>
                    <a:pt x="201" y="719"/>
                    <a:pt x="84" y="1"/>
                    <a:pt x="3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" name="Google Shape;503;p20"/>
            <p:cNvSpPr/>
            <p:nvPr/>
          </p:nvSpPr>
          <p:spPr>
            <a:xfrm rot="-148560">
              <a:off x="7075878" y="4217931"/>
              <a:ext cx="201326" cy="10307"/>
            </a:xfrm>
            <a:custGeom>
              <a:avLst/>
              <a:gdLst/>
              <a:ahLst/>
              <a:cxnLst/>
              <a:rect l="l" t="t" r="r" b="b"/>
              <a:pathLst>
                <a:path w="3594" h="184" extrusionOk="0">
                  <a:moveTo>
                    <a:pt x="1" y="0"/>
                  </a:moveTo>
                  <a:lnTo>
                    <a:pt x="1" y="0"/>
                  </a:lnTo>
                  <a:cubicBezTo>
                    <a:pt x="1404" y="100"/>
                    <a:pt x="2474" y="167"/>
                    <a:pt x="3593" y="184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" name="Google Shape;504;p20"/>
            <p:cNvSpPr/>
            <p:nvPr/>
          </p:nvSpPr>
          <p:spPr>
            <a:xfrm rot="-148560">
              <a:off x="7075880" y="4215914"/>
              <a:ext cx="201326" cy="14452"/>
            </a:xfrm>
            <a:custGeom>
              <a:avLst/>
              <a:gdLst/>
              <a:ahLst/>
              <a:cxnLst/>
              <a:rect l="l" t="t" r="r" b="b"/>
              <a:pathLst>
                <a:path w="3594" h="258" extrusionOk="0">
                  <a:moveTo>
                    <a:pt x="471" y="0"/>
                  </a:moveTo>
                  <a:cubicBezTo>
                    <a:pt x="185" y="0"/>
                    <a:pt x="9" y="13"/>
                    <a:pt x="1" y="36"/>
                  </a:cubicBezTo>
                  <a:cubicBezTo>
                    <a:pt x="1" y="86"/>
                    <a:pt x="803" y="170"/>
                    <a:pt x="1789" y="220"/>
                  </a:cubicBezTo>
                  <a:cubicBezTo>
                    <a:pt x="2281" y="245"/>
                    <a:pt x="2728" y="257"/>
                    <a:pt x="3054" y="257"/>
                  </a:cubicBezTo>
                  <a:cubicBezTo>
                    <a:pt x="3380" y="257"/>
                    <a:pt x="3585" y="245"/>
                    <a:pt x="3593" y="220"/>
                  </a:cubicBezTo>
                  <a:cubicBezTo>
                    <a:pt x="3593" y="186"/>
                    <a:pt x="2791" y="103"/>
                    <a:pt x="1805" y="53"/>
                  </a:cubicBezTo>
                  <a:cubicBezTo>
                    <a:pt x="1277" y="17"/>
                    <a:pt x="801" y="0"/>
                    <a:pt x="471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" name="Google Shape;505;p20"/>
            <p:cNvSpPr/>
            <p:nvPr/>
          </p:nvSpPr>
          <p:spPr>
            <a:xfrm>
              <a:off x="7680750" y="4457910"/>
              <a:ext cx="743240" cy="202223"/>
            </a:xfrm>
            <a:custGeom>
              <a:avLst/>
              <a:gdLst/>
              <a:ahLst/>
              <a:cxnLst/>
              <a:rect l="l" t="t" r="r" b="b"/>
              <a:pathLst>
                <a:path w="13268" h="3610" extrusionOk="0">
                  <a:moveTo>
                    <a:pt x="1" y="0"/>
                  </a:moveTo>
                  <a:lnTo>
                    <a:pt x="235" y="3609"/>
                  </a:lnTo>
                  <a:lnTo>
                    <a:pt x="13267" y="3609"/>
                  </a:lnTo>
                  <a:lnTo>
                    <a:pt x="12733" y="40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" name="Google Shape;506;p20"/>
            <p:cNvSpPr/>
            <p:nvPr/>
          </p:nvSpPr>
          <p:spPr>
            <a:xfrm>
              <a:off x="7709767" y="4485975"/>
              <a:ext cx="706717" cy="148895"/>
            </a:xfrm>
            <a:custGeom>
              <a:avLst/>
              <a:gdLst/>
              <a:ahLst/>
              <a:cxnLst/>
              <a:rect l="l" t="t" r="r" b="b"/>
              <a:pathLst>
                <a:path w="12616" h="2658" extrusionOk="0">
                  <a:moveTo>
                    <a:pt x="1" y="1"/>
                  </a:moveTo>
                  <a:lnTo>
                    <a:pt x="235" y="2657"/>
                  </a:lnTo>
                  <a:lnTo>
                    <a:pt x="12616" y="2473"/>
                  </a:lnTo>
                  <a:lnTo>
                    <a:pt x="12265" y="23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" name="Google Shape;507;p20"/>
            <p:cNvSpPr/>
            <p:nvPr/>
          </p:nvSpPr>
          <p:spPr>
            <a:xfrm rot="-148560">
              <a:off x="6868522" y="4269774"/>
              <a:ext cx="735731" cy="226534"/>
            </a:xfrm>
            <a:custGeom>
              <a:avLst/>
              <a:gdLst/>
              <a:ahLst/>
              <a:cxnLst/>
              <a:rect l="l" t="t" r="r" b="b"/>
              <a:pathLst>
                <a:path w="13134" h="4044" extrusionOk="0">
                  <a:moveTo>
                    <a:pt x="0" y="0"/>
                  </a:moveTo>
                  <a:lnTo>
                    <a:pt x="117" y="3609"/>
                  </a:lnTo>
                  <a:lnTo>
                    <a:pt x="13133" y="4044"/>
                  </a:lnTo>
                  <a:lnTo>
                    <a:pt x="12716" y="8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" name="Google Shape;508;p20"/>
            <p:cNvSpPr/>
            <p:nvPr/>
          </p:nvSpPr>
          <p:spPr>
            <a:xfrm rot="-148560">
              <a:off x="7024225" y="4357229"/>
              <a:ext cx="447410" cy="65596"/>
            </a:xfrm>
            <a:custGeom>
              <a:avLst/>
              <a:gdLst/>
              <a:ahLst/>
              <a:cxnLst/>
              <a:rect l="l" t="t" r="r" b="b"/>
              <a:pathLst>
                <a:path w="7987" h="1171" extrusionOk="0">
                  <a:moveTo>
                    <a:pt x="34" y="1"/>
                  </a:moveTo>
                  <a:lnTo>
                    <a:pt x="0" y="652"/>
                  </a:lnTo>
                  <a:lnTo>
                    <a:pt x="7937" y="1170"/>
                  </a:lnTo>
                  <a:lnTo>
                    <a:pt x="7987" y="519"/>
                  </a:lnTo>
                  <a:lnTo>
                    <a:pt x="3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" name="Google Shape;509;p20"/>
            <p:cNvSpPr/>
            <p:nvPr/>
          </p:nvSpPr>
          <p:spPr>
            <a:xfrm>
              <a:off x="7711671" y="4546809"/>
              <a:ext cx="692656" cy="10363"/>
            </a:xfrm>
            <a:custGeom>
              <a:avLst/>
              <a:gdLst/>
              <a:ahLst/>
              <a:cxnLst/>
              <a:rect l="l" t="t" r="r" b="b"/>
              <a:pathLst>
                <a:path w="12365" h="185" extrusionOk="0">
                  <a:moveTo>
                    <a:pt x="6182" y="1"/>
                  </a:moveTo>
                  <a:cubicBezTo>
                    <a:pt x="4461" y="17"/>
                    <a:pt x="2924" y="34"/>
                    <a:pt x="1805" y="51"/>
                  </a:cubicBezTo>
                  <a:lnTo>
                    <a:pt x="485" y="84"/>
                  </a:lnTo>
                  <a:cubicBezTo>
                    <a:pt x="318" y="84"/>
                    <a:pt x="150" y="84"/>
                    <a:pt x="0" y="118"/>
                  </a:cubicBezTo>
                  <a:cubicBezTo>
                    <a:pt x="150" y="151"/>
                    <a:pt x="318" y="151"/>
                    <a:pt x="485" y="151"/>
                  </a:cubicBezTo>
                  <a:lnTo>
                    <a:pt x="1805" y="168"/>
                  </a:lnTo>
                  <a:cubicBezTo>
                    <a:pt x="2924" y="184"/>
                    <a:pt x="4478" y="184"/>
                    <a:pt x="6182" y="184"/>
                  </a:cubicBezTo>
                  <a:cubicBezTo>
                    <a:pt x="7886" y="168"/>
                    <a:pt x="9424" y="151"/>
                    <a:pt x="10543" y="134"/>
                  </a:cubicBezTo>
                  <a:lnTo>
                    <a:pt x="11880" y="101"/>
                  </a:lnTo>
                  <a:cubicBezTo>
                    <a:pt x="12030" y="101"/>
                    <a:pt x="12197" y="101"/>
                    <a:pt x="12364" y="67"/>
                  </a:cubicBezTo>
                  <a:cubicBezTo>
                    <a:pt x="12197" y="51"/>
                    <a:pt x="12030" y="34"/>
                    <a:pt x="11880" y="34"/>
                  </a:cubicBezTo>
                  <a:lnTo>
                    <a:pt x="10543" y="17"/>
                  </a:lnTo>
                  <a:cubicBezTo>
                    <a:pt x="9424" y="1"/>
                    <a:pt x="7886" y="1"/>
                    <a:pt x="6182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0"/>
            <p:cNvSpPr/>
            <p:nvPr/>
          </p:nvSpPr>
          <p:spPr>
            <a:xfrm>
              <a:off x="7714472" y="4578627"/>
              <a:ext cx="698258" cy="13164"/>
            </a:xfrm>
            <a:custGeom>
              <a:avLst/>
              <a:gdLst/>
              <a:ahLst/>
              <a:cxnLst/>
              <a:rect l="l" t="t" r="r" b="b"/>
              <a:pathLst>
                <a:path w="12465" h="235" extrusionOk="0">
                  <a:moveTo>
                    <a:pt x="501" y="1"/>
                  </a:moveTo>
                  <a:cubicBezTo>
                    <a:pt x="334" y="1"/>
                    <a:pt x="167" y="1"/>
                    <a:pt x="0" y="34"/>
                  </a:cubicBezTo>
                  <a:cubicBezTo>
                    <a:pt x="167" y="68"/>
                    <a:pt x="334" y="68"/>
                    <a:pt x="501" y="68"/>
                  </a:cubicBezTo>
                  <a:lnTo>
                    <a:pt x="1821" y="118"/>
                  </a:lnTo>
                  <a:cubicBezTo>
                    <a:pt x="2958" y="151"/>
                    <a:pt x="4511" y="185"/>
                    <a:pt x="6232" y="201"/>
                  </a:cubicBezTo>
                  <a:cubicBezTo>
                    <a:pt x="7953" y="235"/>
                    <a:pt x="9507" y="235"/>
                    <a:pt x="10627" y="235"/>
                  </a:cubicBezTo>
                  <a:lnTo>
                    <a:pt x="11964" y="235"/>
                  </a:lnTo>
                  <a:cubicBezTo>
                    <a:pt x="12131" y="235"/>
                    <a:pt x="12298" y="235"/>
                    <a:pt x="12465" y="201"/>
                  </a:cubicBezTo>
                  <a:cubicBezTo>
                    <a:pt x="12298" y="168"/>
                    <a:pt x="12131" y="168"/>
                    <a:pt x="11964" y="168"/>
                  </a:cubicBezTo>
                  <a:lnTo>
                    <a:pt x="10627" y="118"/>
                  </a:lnTo>
                  <a:cubicBezTo>
                    <a:pt x="9507" y="84"/>
                    <a:pt x="7953" y="51"/>
                    <a:pt x="6232" y="34"/>
                  </a:cubicBezTo>
                  <a:cubicBezTo>
                    <a:pt x="4511" y="1"/>
                    <a:pt x="2958" y="1"/>
                    <a:pt x="1821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11" name="Google Shape;511;p20"/>
          <p:cNvSpPr txBox="1">
            <a:spLocks noGrp="1"/>
          </p:cNvSpPr>
          <p:nvPr>
            <p:ph type="title"/>
          </p:nvPr>
        </p:nvSpPr>
        <p:spPr>
          <a:xfrm>
            <a:off x="720000" y="540000"/>
            <a:ext cx="7704000" cy="32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700"/>
              <a:buNone/>
              <a:defRPr sz="27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12" name="Google Shape;512;p20"/>
          <p:cNvSpPr txBox="1">
            <a:spLocks noGrp="1"/>
          </p:cNvSpPr>
          <p:nvPr>
            <p:ph type="subTitle" idx="1"/>
          </p:nvPr>
        </p:nvSpPr>
        <p:spPr>
          <a:xfrm>
            <a:off x="6743876" y="2475500"/>
            <a:ext cx="1603800" cy="276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6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13" name="Google Shape;513;p20"/>
          <p:cNvSpPr txBox="1">
            <a:spLocks noGrp="1"/>
          </p:cNvSpPr>
          <p:nvPr>
            <p:ph type="subTitle" idx="2"/>
          </p:nvPr>
        </p:nvSpPr>
        <p:spPr>
          <a:xfrm>
            <a:off x="6743875" y="2752100"/>
            <a:ext cx="1603800" cy="72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14" name="Google Shape;514;p20"/>
          <p:cNvSpPr txBox="1">
            <a:spLocks noGrp="1"/>
          </p:cNvSpPr>
          <p:nvPr>
            <p:ph type="subTitle" idx="3"/>
          </p:nvPr>
        </p:nvSpPr>
        <p:spPr>
          <a:xfrm>
            <a:off x="1384276" y="1537100"/>
            <a:ext cx="1603800" cy="276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6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15" name="Google Shape;515;p20"/>
          <p:cNvSpPr txBox="1">
            <a:spLocks noGrp="1"/>
          </p:cNvSpPr>
          <p:nvPr>
            <p:ph type="subTitle" idx="4"/>
          </p:nvPr>
        </p:nvSpPr>
        <p:spPr>
          <a:xfrm>
            <a:off x="1384275" y="1813700"/>
            <a:ext cx="1603800" cy="72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16" name="Google Shape;516;p20"/>
          <p:cNvSpPr txBox="1">
            <a:spLocks noGrp="1"/>
          </p:cNvSpPr>
          <p:nvPr>
            <p:ph type="subTitle" idx="5"/>
          </p:nvPr>
        </p:nvSpPr>
        <p:spPr>
          <a:xfrm>
            <a:off x="720000" y="3084550"/>
            <a:ext cx="1603800" cy="276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6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17" name="Google Shape;517;p20"/>
          <p:cNvSpPr txBox="1">
            <a:spLocks noGrp="1"/>
          </p:cNvSpPr>
          <p:nvPr>
            <p:ph type="subTitle" idx="6"/>
          </p:nvPr>
        </p:nvSpPr>
        <p:spPr>
          <a:xfrm>
            <a:off x="720000" y="3361150"/>
            <a:ext cx="1603800" cy="72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18" name="Google Shape;518;p20"/>
          <p:cNvSpPr txBox="1">
            <a:spLocks noGrp="1"/>
          </p:cNvSpPr>
          <p:nvPr>
            <p:ph type="title" idx="7" hasCustomPrompt="1"/>
          </p:nvPr>
        </p:nvSpPr>
        <p:spPr>
          <a:xfrm>
            <a:off x="5273301" y="2685897"/>
            <a:ext cx="714600" cy="52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Josefin Sans"/>
              <a:buNone/>
              <a:defRPr sz="1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519" name="Google Shape;519;p20"/>
          <p:cNvSpPr txBox="1">
            <a:spLocks noGrp="1"/>
          </p:cNvSpPr>
          <p:nvPr>
            <p:ph type="title" idx="8" hasCustomPrompt="1"/>
          </p:nvPr>
        </p:nvSpPr>
        <p:spPr>
          <a:xfrm>
            <a:off x="3757467" y="1983234"/>
            <a:ext cx="714600" cy="52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Josefin Sans"/>
              <a:buNone/>
              <a:defRPr sz="1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520" name="Google Shape;520;p20"/>
          <p:cNvSpPr txBox="1">
            <a:spLocks noGrp="1"/>
          </p:cNvSpPr>
          <p:nvPr>
            <p:ph type="title" idx="9" hasCustomPrompt="1"/>
          </p:nvPr>
        </p:nvSpPr>
        <p:spPr>
          <a:xfrm>
            <a:off x="2840762" y="3167156"/>
            <a:ext cx="714600" cy="52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Josefin Sans"/>
              <a:buNone/>
              <a:defRPr sz="1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521" name="Google Shape;521;p20"/>
          <p:cNvSpPr/>
          <p:nvPr/>
        </p:nvSpPr>
        <p:spPr>
          <a:xfrm>
            <a:off x="3148172" y="1280701"/>
            <a:ext cx="1933200" cy="19332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2" name="Google Shape;522;p20"/>
          <p:cNvSpPr/>
          <p:nvPr/>
        </p:nvSpPr>
        <p:spPr>
          <a:xfrm>
            <a:off x="2464138" y="2697294"/>
            <a:ext cx="1467900" cy="14679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3" name="Google Shape;523;p20"/>
          <p:cNvSpPr/>
          <p:nvPr/>
        </p:nvSpPr>
        <p:spPr>
          <a:xfrm>
            <a:off x="4664005" y="1983364"/>
            <a:ext cx="1933200" cy="19332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D5A2AAF-DDB1-4B1E-AD7E-6161C8A6A8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58103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16" imgW="393" imgH="403" progId="TCLayout.ActiveDocument.1">
                  <p:embed/>
                </p:oleObj>
              </mc:Choice>
              <mc:Fallback>
                <p:oleObj name="think-cell Slide" r:id="rId16" imgW="393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Lilita One"/>
              <a:buNone/>
              <a:defRPr sz="28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Lilita One"/>
              <a:buNone/>
              <a:defRPr sz="28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Lilita One"/>
              <a:buNone/>
              <a:defRPr sz="28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Lilita One"/>
              <a:buNone/>
              <a:defRPr sz="28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Lilita One"/>
              <a:buNone/>
              <a:defRPr sz="28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Lilita One"/>
              <a:buNone/>
              <a:defRPr sz="28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Lilita One"/>
              <a:buNone/>
              <a:defRPr sz="28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Lilita One"/>
              <a:buNone/>
              <a:defRPr sz="28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Lilita One"/>
              <a:buNone/>
              <a:defRPr sz="2800">
                <a:solidFill>
                  <a:schemeClr val="dk1"/>
                </a:solidFill>
                <a:latin typeface="Lilita One"/>
                <a:ea typeface="Lilita One"/>
                <a:cs typeface="Lilita One"/>
                <a:sym typeface="Lilita One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Josefin Sans"/>
              <a:buChar char="●"/>
              <a:defRPr sz="1100">
                <a:solidFill>
                  <a:schemeClr val="dk2"/>
                </a:solidFill>
                <a:latin typeface="Josefin Sans"/>
                <a:ea typeface="Josefin Sans"/>
                <a:cs typeface="Josefin Sans"/>
                <a:sym typeface="Josefin Sans"/>
              </a:defRPr>
            </a:lvl1pPr>
            <a:lvl2pPr marL="914400" lvl="1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Josefin Sans"/>
              <a:buChar char="○"/>
              <a:defRPr sz="1100">
                <a:solidFill>
                  <a:schemeClr val="dk2"/>
                </a:solidFill>
                <a:latin typeface="Josefin Sans"/>
                <a:ea typeface="Josefin Sans"/>
                <a:cs typeface="Josefin Sans"/>
                <a:sym typeface="Josefin Sans"/>
              </a:defRPr>
            </a:lvl2pPr>
            <a:lvl3pPr marL="1371600" lvl="2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Josefin Sans"/>
              <a:buChar char="■"/>
              <a:defRPr sz="1100">
                <a:solidFill>
                  <a:schemeClr val="dk2"/>
                </a:solidFill>
                <a:latin typeface="Josefin Sans"/>
                <a:ea typeface="Josefin Sans"/>
                <a:cs typeface="Josefin Sans"/>
                <a:sym typeface="Josefin Sans"/>
              </a:defRPr>
            </a:lvl3pPr>
            <a:lvl4pPr marL="1828800" lvl="3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Josefin Sans"/>
              <a:buChar char="●"/>
              <a:defRPr sz="1100">
                <a:solidFill>
                  <a:schemeClr val="dk2"/>
                </a:solidFill>
                <a:latin typeface="Josefin Sans"/>
                <a:ea typeface="Josefin Sans"/>
                <a:cs typeface="Josefin Sans"/>
                <a:sym typeface="Josefin Sans"/>
              </a:defRPr>
            </a:lvl4pPr>
            <a:lvl5pPr marL="2286000" lvl="4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Josefin Sans"/>
              <a:buChar char="○"/>
              <a:defRPr sz="1100">
                <a:solidFill>
                  <a:schemeClr val="dk2"/>
                </a:solidFill>
                <a:latin typeface="Josefin Sans"/>
                <a:ea typeface="Josefin Sans"/>
                <a:cs typeface="Josefin Sans"/>
                <a:sym typeface="Josefin Sans"/>
              </a:defRPr>
            </a:lvl5pPr>
            <a:lvl6pPr marL="2743200" lvl="5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Josefin Sans"/>
              <a:buChar char="■"/>
              <a:defRPr sz="1100">
                <a:solidFill>
                  <a:schemeClr val="dk2"/>
                </a:solidFill>
                <a:latin typeface="Josefin Sans"/>
                <a:ea typeface="Josefin Sans"/>
                <a:cs typeface="Josefin Sans"/>
                <a:sym typeface="Josefin Sans"/>
              </a:defRPr>
            </a:lvl6pPr>
            <a:lvl7pPr marL="3200400" lvl="6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Josefin Sans"/>
              <a:buChar char="●"/>
              <a:defRPr sz="1100">
                <a:solidFill>
                  <a:schemeClr val="dk2"/>
                </a:solidFill>
                <a:latin typeface="Josefin Sans"/>
                <a:ea typeface="Josefin Sans"/>
                <a:cs typeface="Josefin Sans"/>
                <a:sym typeface="Josefin Sans"/>
              </a:defRPr>
            </a:lvl7pPr>
            <a:lvl8pPr marL="3657600" lvl="7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Josefin Sans"/>
              <a:buChar char="○"/>
              <a:defRPr sz="1100">
                <a:solidFill>
                  <a:schemeClr val="dk2"/>
                </a:solidFill>
                <a:latin typeface="Josefin Sans"/>
                <a:ea typeface="Josefin Sans"/>
                <a:cs typeface="Josefin Sans"/>
                <a:sym typeface="Josefin Sans"/>
              </a:defRPr>
            </a:lvl8pPr>
            <a:lvl9pPr marL="4114800" lvl="8" indent="-298450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100"/>
              <a:buFont typeface="Josefin Sans"/>
              <a:buChar char="■"/>
              <a:defRPr sz="1100">
                <a:solidFill>
                  <a:schemeClr val="dk2"/>
                </a:solidFill>
                <a:latin typeface="Josefin Sans"/>
                <a:ea typeface="Josefin Sans"/>
                <a:cs typeface="Josefin Sans"/>
                <a:sym typeface="Josefin Sans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1" r:id="rId3"/>
    <p:sldLayoutId id="2147483655" r:id="rId4"/>
    <p:sldLayoutId id="2147483656" r:id="rId5"/>
    <p:sldLayoutId id="2147483657" r:id="rId6"/>
    <p:sldLayoutId id="2147483658" r:id="rId7"/>
    <p:sldLayoutId id="2147483665" r:id="rId8"/>
    <p:sldLayoutId id="2147483666" r:id="rId9"/>
    <p:sldLayoutId id="2147483667" r:id="rId10"/>
    <p:sldLayoutId id="2147483671" r:id="rId11"/>
    <p:sldLayoutId id="2147483677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DF68259-0A3D-4771-A2F8-AE2766B7EF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9434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393" imgH="403" progId="TCLayout.ActiveDocument.1">
                  <p:embed/>
                </p:oleObj>
              </mc:Choice>
              <mc:Fallback>
                <p:oleObj name="think-cell Slide" r:id="rId5" imgW="393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1" name="Google Shape;861;p34"/>
          <p:cNvSpPr txBox="1">
            <a:spLocks noGrp="1"/>
          </p:cNvSpPr>
          <p:nvPr>
            <p:ph type="ctrTitle"/>
          </p:nvPr>
        </p:nvSpPr>
        <p:spPr>
          <a:xfrm>
            <a:off x="720000" y="860400"/>
            <a:ext cx="3345000" cy="2064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CO" dirty="0"/>
              <a:t>Brand </a:t>
            </a:r>
            <a:r>
              <a:rPr lang="es-CO" dirty="0" err="1"/>
              <a:t>Expansion</a:t>
            </a:r>
            <a:r>
              <a:rPr lang="es-CO" dirty="0"/>
              <a:t> Ab-</a:t>
            </a:r>
            <a:r>
              <a:rPr lang="es-CO" dirty="0" err="1"/>
              <a:t>Inbev</a:t>
            </a:r>
            <a:endParaRPr dirty="0"/>
          </a:p>
        </p:txBody>
      </p:sp>
      <p:sp>
        <p:nvSpPr>
          <p:cNvPr id="862" name="Google Shape;862;p34"/>
          <p:cNvSpPr txBox="1">
            <a:spLocks noGrp="1"/>
          </p:cNvSpPr>
          <p:nvPr>
            <p:ph type="subTitle" idx="1"/>
          </p:nvPr>
        </p:nvSpPr>
        <p:spPr>
          <a:xfrm>
            <a:off x="720000" y="2824325"/>
            <a:ext cx="3345000" cy="707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CO" dirty="0" err="1"/>
              <a:t>Hackators</a:t>
            </a:r>
            <a:r>
              <a:rPr lang="es-CO" dirty="0"/>
              <a:t> Colombia</a:t>
            </a: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CO" dirty="0"/>
              <a:t>Juan Sebastián Herrera Cobo</a:t>
            </a: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CO" dirty="0"/>
              <a:t>Edgar Andrés Hoyos Giraldo</a:t>
            </a:r>
            <a:endParaRPr dirty="0"/>
          </a:p>
        </p:txBody>
      </p:sp>
      <p:grpSp>
        <p:nvGrpSpPr>
          <p:cNvPr id="863" name="Google Shape;863;p34"/>
          <p:cNvGrpSpPr/>
          <p:nvPr/>
        </p:nvGrpSpPr>
        <p:grpSpPr>
          <a:xfrm>
            <a:off x="3551078" y="894499"/>
            <a:ext cx="5591283" cy="3790746"/>
            <a:chOff x="3551078" y="894499"/>
            <a:chExt cx="5591283" cy="3790746"/>
          </a:xfrm>
        </p:grpSpPr>
        <p:sp>
          <p:nvSpPr>
            <p:cNvPr id="864" name="Google Shape;864;p34"/>
            <p:cNvSpPr/>
            <p:nvPr/>
          </p:nvSpPr>
          <p:spPr>
            <a:xfrm>
              <a:off x="7439416" y="1150995"/>
              <a:ext cx="1702945" cy="1120308"/>
            </a:xfrm>
            <a:custGeom>
              <a:avLst/>
              <a:gdLst/>
              <a:ahLst/>
              <a:cxnLst/>
              <a:rect l="l" t="t" r="r" b="b"/>
              <a:pathLst>
                <a:path w="53134" h="34955" extrusionOk="0">
                  <a:moveTo>
                    <a:pt x="3626" y="1"/>
                  </a:moveTo>
                  <a:lnTo>
                    <a:pt x="0" y="34955"/>
                  </a:lnTo>
                  <a:lnTo>
                    <a:pt x="49074" y="34955"/>
                  </a:lnTo>
                  <a:lnTo>
                    <a:pt x="53134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5" name="Google Shape;865;p34"/>
            <p:cNvSpPr/>
            <p:nvPr/>
          </p:nvSpPr>
          <p:spPr>
            <a:xfrm>
              <a:off x="7610788" y="1330924"/>
              <a:ext cx="80349" cy="752438"/>
            </a:xfrm>
            <a:custGeom>
              <a:avLst/>
              <a:gdLst/>
              <a:ahLst/>
              <a:cxnLst/>
              <a:rect l="l" t="t" r="r" b="b"/>
              <a:pathLst>
                <a:path w="2507" h="23477" extrusionOk="0">
                  <a:moveTo>
                    <a:pt x="2473" y="1"/>
                  </a:moveTo>
                  <a:lnTo>
                    <a:pt x="2473" y="1"/>
                  </a:lnTo>
                  <a:cubicBezTo>
                    <a:pt x="2423" y="1"/>
                    <a:pt x="1855" y="5247"/>
                    <a:pt x="1187" y="11730"/>
                  </a:cubicBezTo>
                  <a:cubicBezTo>
                    <a:pt x="518" y="18213"/>
                    <a:pt x="0" y="23476"/>
                    <a:pt x="50" y="23476"/>
                  </a:cubicBezTo>
                  <a:cubicBezTo>
                    <a:pt x="84" y="23476"/>
                    <a:pt x="669" y="18230"/>
                    <a:pt x="1337" y="11747"/>
                  </a:cubicBezTo>
                  <a:cubicBezTo>
                    <a:pt x="2005" y="5264"/>
                    <a:pt x="2507" y="17"/>
                    <a:pt x="2473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6" name="Google Shape;866;p34"/>
            <p:cNvSpPr/>
            <p:nvPr/>
          </p:nvSpPr>
          <p:spPr>
            <a:xfrm>
              <a:off x="7740911" y="1366275"/>
              <a:ext cx="158007" cy="4840"/>
            </a:xfrm>
            <a:custGeom>
              <a:avLst/>
              <a:gdLst/>
              <a:ahLst/>
              <a:cxnLst/>
              <a:rect l="l" t="t" r="r" b="b"/>
              <a:pathLst>
                <a:path w="4930" h="151" extrusionOk="0">
                  <a:moveTo>
                    <a:pt x="2457" y="0"/>
                  </a:moveTo>
                  <a:cubicBezTo>
                    <a:pt x="1103" y="0"/>
                    <a:pt x="0" y="34"/>
                    <a:pt x="0" y="67"/>
                  </a:cubicBezTo>
                  <a:cubicBezTo>
                    <a:pt x="0" y="117"/>
                    <a:pt x="1103" y="151"/>
                    <a:pt x="2457" y="151"/>
                  </a:cubicBezTo>
                  <a:cubicBezTo>
                    <a:pt x="3827" y="151"/>
                    <a:pt x="4929" y="117"/>
                    <a:pt x="4929" y="67"/>
                  </a:cubicBezTo>
                  <a:cubicBezTo>
                    <a:pt x="4929" y="34"/>
                    <a:pt x="3827" y="0"/>
                    <a:pt x="2457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7" name="Google Shape;867;p34"/>
            <p:cNvSpPr/>
            <p:nvPr/>
          </p:nvSpPr>
          <p:spPr>
            <a:xfrm>
              <a:off x="7941736" y="1366275"/>
              <a:ext cx="628693" cy="4840"/>
            </a:xfrm>
            <a:custGeom>
              <a:avLst/>
              <a:gdLst/>
              <a:ahLst/>
              <a:cxnLst/>
              <a:rect l="l" t="t" r="r" b="b"/>
              <a:pathLst>
                <a:path w="19616" h="151" extrusionOk="0">
                  <a:moveTo>
                    <a:pt x="9808" y="0"/>
                  </a:moveTo>
                  <a:cubicBezTo>
                    <a:pt x="4394" y="0"/>
                    <a:pt x="0" y="34"/>
                    <a:pt x="0" y="67"/>
                  </a:cubicBezTo>
                  <a:cubicBezTo>
                    <a:pt x="0" y="117"/>
                    <a:pt x="4394" y="151"/>
                    <a:pt x="9808" y="151"/>
                  </a:cubicBezTo>
                  <a:cubicBezTo>
                    <a:pt x="15222" y="151"/>
                    <a:pt x="19616" y="117"/>
                    <a:pt x="19616" y="67"/>
                  </a:cubicBezTo>
                  <a:cubicBezTo>
                    <a:pt x="19616" y="34"/>
                    <a:pt x="15238" y="0"/>
                    <a:pt x="980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8" name="Google Shape;868;p34"/>
            <p:cNvSpPr/>
            <p:nvPr/>
          </p:nvSpPr>
          <p:spPr>
            <a:xfrm>
              <a:off x="7722161" y="1764144"/>
              <a:ext cx="158007" cy="5384"/>
            </a:xfrm>
            <a:custGeom>
              <a:avLst/>
              <a:gdLst/>
              <a:ahLst/>
              <a:cxnLst/>
              <a:rect l="l" t="t" r="r" b="b"/>
              <a:pathLst>
                <a:path w="4930" h="168" extrusionOk="0">
                  <a:moveTo>
                    <a:pt x="2473" y="1"/>
                  </a:moveTo>
                  <a:cubicBezTo>
                    <a:pt x="1103" y="1"/>
                    <a:pt x="1" y="34"/>
                    <a:pt x="1" y="84"/>
                  </a:cubicBezTo>
                  <a:cubicBezTo>
                    <a:pt x="1" y="118"/>
                    <a:pt x="1103" y="168"/>
                    <a:pt x="2473" y="168"/>
                  </a:cubicBezTo>
                  <a:cubicBezTo>
                    <a:pt x="3827" y="168"/>
                    <a:pt x="4930" y="118"/>
                    <a:pt x="4930" y="84"/>
                  </a:cubicBezTo>
                  <a:cubicBezTo>
                    <a:pt x="4930" y="34"/>
                    <a:pt x="3827" y="1"/>
                    <a:pt x="2473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9" name="Google Shape;869;p34"/>
            <p:cNvSpPr/>
            <p:nvPr/>
          </p:nvSpPr>
          <p:spPr>
            <a:xfrm>
              <a:off x="7922987" y="1764144"/>
              <a:ext cx="629238" cy="5384"/>
            </a:xfrm>
            <a:custGeom>
              <a:avLst/>
              <a:gdLst/>
              <a:ahLst/>
              <a:cxnLst/>
              <a:rect l="l" t="t" r="r" b="b"/>
              <a:pathLst>
                <a:path w="19633" h="168" extrusionOk="0">
                  <a:moveTo>
                    <a:pt x="9808" y="1"/>
                  </a:moveTo>
                  <a:cubicBezTo>
                    <a:pt x="4395" y="1"/>
                    <a:pt x="0" y="34"/>
                    <a:pt x="0" y="84"/>
                  </a:cubicBezTo>
                  <a:cubicBezTo>
                    <a:pt x="0" y="118"/>
                    <a:pt x="4395" y="168"/>
                    <a:pt x="9808" y="168"/>
                  </a:cubicBezTo>
                  <a:cubicBezTo>
                    <a:pt x="15239" y="168"/>
                    <a:pt x="19633" y="118"/>
                    <a:pt x="19633" y="84"/>
                  </a:cubicBezTo>
                  <a:cubicBezTo>
                    <a:pt x="19633" y="34"/>
                    <a:pt x="15239" y="1"/>
                    <a:pt x="9808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0" name="Google Shape;870;p34"/>
            <p:cNvSpPr/>
            <p:nvPr/>
          </p:nvSpPr>
          <p:spPr>
            <a:xfrm>
              <a:off x="7708764" y="1947822"/>
              <a:ext cx="629270" cy="4872"/>
            </a:xfrm>
            <a:custGeom>
              <a:avLst/>
              <a:gdLst/>
              <a:ahLst/>
              <a:cxnLst/>
              <a:rect l="l" t="t" r="r" b="b"/>
              <a:pathLst>
                <a:path w="19634" h="152" extrusionOk="0">
                  <a:moveTo>
                    <a:pt x="9809" y="1"/>
                  </a:moveTo>
                  <a:cubicBezTo>
                    <a:pt x="4395" y="1"/>
                    <a:pt x="1" y="34"/>
                    <a:pt x="1" y="84"/>
                  </a:cubicBezTo>
                  <a:cubicBezTo>
                    <a:pt x="1" y="118"/>
                    <a:pt x="4395" y="151"/>
                    <a:pt x="9809" y="151"/>
                  </a:cubicBezTo>
                  <a:cubicBezTo>
                    <a:pt x="15239" y="151"/>
                    <a:pt x="19633" y="118"/>
                    <a:pt x="19633" y="84"/>
                  </a:cubicBezTo>
                  <a:cubicBezTo>
                    <a:pt x="19633" y="34"/>
                    <a:pt x="15239" y="1"/>
                    <a:pt x="980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1" name="Google Shape;871;p34"/>
            <p:cNvSpPr/>
            <p:nvPr/>
          </p:nvSpPr>
          <p:spPr>
            <a:xfrm>
              <a:off x="7746263" y="1478194"/>
              <a:ext cx="222267" cy="5384"/>
            </a:xfrm>
            <a:custGeom>
              <a:avLst/>
              <a:gdLst/>
              <a:ahLst/>
              <a:cxnLst/>
              <a:rect l="l" t="t" r="r" b="b"/>
              <a:pathLst>
                <a:path w="6935" h="168" extrusionOk="0">
                  <a:moveTo>
                    <a:pt x="3459" y="0"/>
                  </a:moveTo>
                  <a:cubicBezTo>
                    <a:pt x="1554" y="0"/>
                    <a:pt x="1" y="51"/>
                    <a:pt x="1" y="84"/>
                  </a:cubicBezTo>
                  <a:cubicBezTo>
                    <a:pt x="1" y="134"/>
                    <a:pt x="1554" y="168"/>
                    <a:pt x="3459" y="168"/>
                  </a:cubicBezTo>
                  <a:cubicBezTo>
                    <a:pt x="5381" y="168"/>
                    <a:pt x="6935" y="134"/>
                    <a:pt x="6935" y="84"/>
                  </a:cubicBezTo>
                  <a:cubicBezTo>
                    <a:pt x="6935" y="51"/>
                    <a:pt x="5381" y="0"/>
                    <a:pt x="345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2" name="Google Shape;872;p34"/>
            <p:cNvSpPr/>
            <p:nvPr/>
          </p:nvSpPr>
          <p:spPr>
            <a:xfrm>
              <a:off x="7740366" y="1643123"/>
              <a:ext cx="222267" cy="5384"/>
            </a:xfrm>
            <a:custGeom>
              <a:avLst/>
              <a:gdLst/>
              <a:ahLst/>
              <a:cxnLst/>
              <a:rect l="l" t="t" r="r" b="b"/>
              <a:pathLst>
                <a:path w="6935" h="168" extrusionOk="0">
                  <a:moveTo>
                    <a:pt x="3476" y="1"/>
                  </a:moveTo>
                  <a:cubicBezTo>
                    <a:pt x="1555" y="1"/>
                    <a:pt x="1" y="34"/>
                    <a:pt x="1" y="84"/>
                  </a:cubicBezTo>
                  <a:cubicBezTo>
                    <a:pt x="1" y="134"/>
                    <a:pt x="1555" y="168"/>
                    <a:pt x="3476" y="168"/>
                  </a:cubicBezTo>
                  <a:cubicBezTo>
                    <a:pt x="5381" y="168"/>
                    <a:pt x="6935" y="134"/>
                    <a:pt x="6935" y="84"/>
                  </a:cubicBezTo>
                  <a:cubicBezTo>
                    <a:pt x="6935" y="34"/>
                    <a:pt x="5381" y="1"/>
                    <a:pt x="347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3" name="Google Shape;873;p34"/>
            <p:cNvSpPr/>
            <p:nvPr/>
          </p:nvSpPr>
          <p:spPr>
            <a:xfrm>
              <a:off x="7928339" y="1878755"/>
              <a:ext cx="222267" cy="5384"/>
            </a:xfrm>
            <a:custGeom>
              <a:avLst/>
              <a:gdLst/>
              <a:ahLst/>
              <a:cxnLst/>
              <a:rect l="l" t="t" r="r" b="b"/>
              <a:pathLst>
                <a:path w="6935" h="168" extrusionOk="0">
                  <a:moveTo>
                    <a:pt x="3459" y="0"/>
                  </a:moveTo>
                  <a:cubicBezTo>
                    <a:pt x="1554" y="0"/>
                    <a:pt x="0" y="34"/>
                    <a:pt x="0" y="84"/>
                  </a:cubicBezTo>
                  <a:cubicBezTo>
                    <a:pt x="0" y="117"/>
                    <a:pt x="1554" y="167"/>
                    <a:pt x="3459" y="167"/>
                  </a:cubicBezTo>
                  <a:cubicBezTo>
                    <a:pt x="5381" y="167"/>
                    <a:pt x="6934" y="117"/>
                    <a:pt x="6934" y="84"/>
                  </a:cubicBezTo>
                  <a:cubicBezTo>
                    <a:pt x="6934" y="34"/>
                    <a:pt x="5381" y="0"/>
                    <a:pt x="345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4" name="Google Shape;874;p34"/>
            <p:cNvSpPr/>
            <p:nvPr/>
          </p:nvSpPr>
          <p:spPr>
            <a:xfrm>
              <a:off x="8208937" y="1478194"/>
              <a:ext cx="567670" cy="5384"/>
            </a:xfrm>
            <a:custGeom>
              <a:avLst/>
              <a:gdLst/>
              <a:ahLst/>
              <a:cxnLst/>
              <a:rect l="l" t="t" r="r" b="b"/>
              <a:pathLst>
                <a:path w="17712" h="168" extrusionOk="0">
                  <a:moveTo>
                    <a:pt x="8856" y="0"/>
                  </a:moveTo>
                  <a:cubicBezTo>
                    <a:pt x="3961" y="0"/>
                    <a:pt x="1" y="51"/>
                    <a:pt x="1" y="84"/>
                  </a:cubicBezTo>
                  <a:cubicBezTo>
                    <a:pt x="1" y="134"/>
                    <a:pt x="3961" y="168"/>
                    <a:pt x="8856" y="168"/>
                  </a:cubicBezTo>
                  <a:cubicBezTo>
                    <a:pt x="13752" y="168"/>
                    <a:pt x="17712" y="134"/>
                    <a:pt x="17712" y="84"/>
                  </a:cubicBezTo>
                  <a:cubicBezTo>
                    <a:pt x="17712" y="51"/>
                    <a:pt x="13752" y="0"/>
                    <a:pt x="885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5" name="Google Shape;875;p34"/>
            <p:cNvSpPr/>
            <p:nvPr/>
          </p:nvSpPr>
          <p:spPr>
            <a:xfrm>
              <a:off x="8033848" y="1652770"/>
              <a:ext cx="567670" cy="5384"/>
            </a:xfrm>
            <a:custGeom>
              <a:avLst/>
              <a:gdLst/>
              <a:ahLst/>
              <a:cxnLst/>
              <a:rect l="l" t="t" r="r" b="b"/>
              <a:pathLst>
                <a:path w="17712" h="168" extrusionOk="0">
                  <a:moveTo>
                    <a:pt x="8856" y="0"/>
                  </a:moveTo>
                  <a:cubicBezTo>
                    <a:pt x="3960" y="0"/>
                    <a:pt x="0" y="34"/>
                    <a:pt x="0" y="84"/>
                  </a:cubicBezTo>
                  <a:cubicBezTo>
                    <a:pt x="0" y="117"/>
                    <a:pt x="3960" y="167"/>
                    <a:pt x="8856" y="167"/>
                  </a:cubicBezTo>
                  <a:cubicBezTo>
                    <a:pt x="13751" y="167"/>
                    <a:pt x="17711" y="117"/>
                    <a:pt x="17711" y="84"/>
                  </a:cubicBezTo>
                  <a:cubicBezTo>
                    <a:pt x="17711" y="34"/>
                    <a:pt x="13751" y="0"/>
                    <a:pt x="885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6" name="Google Shape;876;p34"/>
            <p:cNvSpPr/>
            <p:nvPr/>
          </p:nvSpPr>
          <p:spPr>
            <a:xfrm>
              <a:off x="8229288" y="1878755"/>
              <a:ext cx="567670" cy="5384"/>
            </a:xfrm>
            <a:custGeom>
              <a:avLst/>
              <a:gdLst/>
              <a:ahLst/>
              <a:cxnLst/>
              <a:rect l="l" t="t" r="r" b="b"/>
              <a:pathLst>
                <a:path w="17712" h="168" extrusionOk="0">
                  <a:moveTo>
                    <a:pt x="8856" y="0"/>
                  </a:moveTo>
                  <a:cubicBezTo>
                    <a:pt x="3961" y="0"/>
                    <a:pt x="1" y="34"/>
                    <a:pt x="1" y="84"/>
                  </a:cubicBezTo>
                  <a:cubicBezTo>
                    <a:pt x="1" y="117"/>
                    <a:pt x="3961" y="167"/>
                    <a:pt x="8856" y="167"/>
                  </a:cubicBezTo>
                  <a:cubicBezTo>
                    <a:pt x="13735" y="167"/>
                    <a:pt x="17712" y="117"/>
                    <a:pt x="17712" y="84"/>
                  </a:cubicBezTo>
                  <a:cubicBezTo>
                    <a:pt x="17712" y="34"/>
                    <a:pt x="13735" y="0"/>
                    <a:pt x="885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7" name="Google Shape;877;p34"/>
            <p:cNvSpPr/>
            <p:nvPr/>
          </p:nvSpPr>
          <p:spPr>
            <a:xfrm>
              <a:off x="7710912" y="2080637"/>
              <a:ext cx="567670" cy="5384"/>
            </a:xfrm>
            <a:custGeom>
              <a:avLst/>
              <a:gdLst/>
              <a:ahLst/>
              <a:cxnLst/>
              <a:rect l="l" t="t" r="r" b="b"/>
              <a:pathLst>
                <a:path w="17712" h="168" extrusionOk="0">
                  <a:moveTo>
                    <a:pt x="8856" y="1"/>
                  </a:moveTo>
                  <a:cubicBezTo>
                    <a:pt x="3961" y="1"/>
                    <a:pt x="1" y="34"/>
                    <a:pt x="1" y="84"/>
                  </a:cubicBezTo>
                  <a:cubicBezTo>
                    <a:pt x="1" y="117"/>
                    <a:pt x="3961" y="168"/>
                    <a:pt x="8856" y="168"/>
                  </a:cubicBezTo>
                  <a:cubicBezTo>
                    <a:pt x="13752" y="168"/>
                    <a:pt x="17712" y="117"/>
                    <a:pt x="17712" y="84"/>
                  </a:cubicBezTo>
                  <a:cubicBezTo>
                    <a:pt x="17712" y="34"/>
                    <a:pt x="13752" y="1"/>
                    <a:pt x="885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8" name="Google Shape;878;p34"/>
            <p:cNvSpPr/>
            <p:nvPr/>
          </p:nvSpPr>
          <p:spPr>
            <a:xfrm>
              <a:off x="8338547" y="2080637"/>
              <a:ext cx="567670" cy="5384"/>
            </a:xfrm>
            <a:custGeom>
              <a:avLst/>
              <a:gdLst/>
              <a:ahLst/>
              <a:cxnLst/>
              <a:rect l="l" t="t" r="r" b="b"/>
              <a:pathLst>
                <a:path w="17712" h="168" extrusionOk="0">
                  <a:moveTo>
                    <a:pt x="8856" y="1"/>
                  </a:moveTo>
                  <a:cubicBezTo>
                    <a:pt x="3960" y="1"/>
                    <a:pt x="0" y="34"/>
                    <a:pt x="0" y="84"/>
                  </a:cubicBezTo>
                  <a:cubicBezTo>
                    <a:pt x="0" y="117"/>
                    <a:pt x="3960" y="168"/>
                    <a:pt x="8856" y="168"/>
                  </a:cubicBezTo>
                  <a:cubicBezTo>
                    <a:pt x="13751" y="168"/>
                    <a:pt x="17711" y="117"/>
                    <a:pt x="17711" y="84"/>
                  </a:cubicBezTo>
                  <a:cubicBezTo>
                    <a:pt x="17711" y="34"/>
                    <a:pt x="13751" y="1"/>
                    <a:pt x="885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9" name="Google Shape;879;p34"/>
            <p:cNvSpPr/>
            <p:nvPr/>
          </p:nvSpPr>
          <p:spPr>
            <a:xfrm>
              <a:off x="7710912" y="2146500"/>
              <a:ext cx="567670" cy="4872"/>
            </a:xfrm>
            <a:custGeom>
              <a:avLst/>
              <a:gdLst/>
              <a:ahLst/>
              <a:cxnLst/>
              <a:rect l="l" t="t" r="r" b="b"/>
              <a:pathLst>
                <a:path w="17712" h="152" extrusionOk="0">
                  <a:moveTo>
                    <a:pt x="8856" y="1"/>
                  </a:moveTo>
                  <a:cubicBezTo>
                    <a:pt x="3961" y="1"/>
                    <a:pt x="1" y="34"/>
                    <a:pt x="1" y="84"/>
                  </a:cubicBezTo>
                  <a:cubicBezTo>
                    <a:pt x="1" y="118"/>
                    <a:pt x="3961" y="151"/>
                    <a:pt x="8856" y="151"/>
                  </a:cubicBezTo>
                  <a:cubicBezTo>
                    <a:pt x="13735" y="151"/>
                    <a:pt x="17712" y="118"/>
                    <a:pt x="17712" y="84"/>
                  </a:cubicBezTo>
                  <a:cubicBezTo>
                    <a:pt x="17712" y="34"/>
                    <a:pt x="13752" y="1"/>
                    <a:pt x="885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0" name="Google Shape;880;p34"/>
            <p:cNvSpPr/>
            <p:nvPr/>
          </p:nvSpPr>
          <p:spPr>
            <a:xfrm>
              <a:off x="7738218" y="1525852"/>
              <a:ext cx="567670" cy="4840"/>
            </a:xfrm>
            <a:custGeom>
              <a:avLst/>
              <a:gdLst/>
              <a:ahLst/>
              <a:cxnLst/>
              <a:rect l="l" t="t" r="r" b="b"/>
              <a:pathLst>
                <a:path w="17712" h="151" extrusionOk="0">
                  <a:moveTo>
                    <a:pt x="8856" y="0"/>
                  </a:moveTo>
                  <a:cubicBezTo>
                    <a:pt x="3978" y="0"/>
                    <a:pt x="1" y="34"/>
                    <a:pt x="1" y="84"/>
                  </a:cubicBezTo>
                  <a:cubicBezTo>
                    <a:pt x="1" y="117"/>
                    <a:pt x="3978" y="151"/>
                    <a:pt x="8856" y="151"/>
                  </a:cubicBezTo>
                  <a:cubicBezTo>
                    <a:pt x="13752" y="151"/>
                    <a:pt x="17712" y="117"/>
                    <a:pt x="17712" y="84"/>
                  </a:cubicBezTo>
                  <a:cubicBezTo>
                    <a:pt x="17712" y="34"/>
                    <a:pt x="13752" y="0"/>
                    <a:pt x="885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1" name="Google Shape;881;p34"/>
            <p:cNvSpPr/>
            <p:nvPr/>
          </p:nvSpPr>
          <p:spPr>
            <a:xfrm>
              <a:off x="8008656" y="1479251"/>
              <a:ext cx="146244" cy="4872"/>
            </a:xfrm>
            <a:custGeom>
              <a:avLst/>
              <a:gdLst/>
              <a:ahLst/>
              <a:cxnLst/>
              <a:rect l="l" t="t" r="r" b="b"/>
              <a:pathLst>
                <a:path w="4563" h="152" extrusionOk="0">
                  <a:moveTo>
                    <a:pt x="2273" y="1"/>
                  </a:moveTo>
                  <a:cubicBezTo>
                    <a:pt x="1020" y="1"/>
                    <a:pt x="1" y="34"/>
                    <a:pt x="1" y="68"/>
                  </a:cubicBezTo>
                  <a:cubicBezTo>
                    <a:pt x="1" y="118"/>
                    <a:pt x="1020" y="151"/>
                    <a:pt x="2273" y="151"/>
                  </a:cubicBezTo>
                  <a:cubicBezTo>
                    <a:pt x="3543" y="151"/>
                    <a:pt x="4562" y="118"/>
                    <a:pt x="4562" y="68"/>
                  </a:cubicBezTo>
                  <a:cubicBezTo>
                    <a:pt x="4562" y="34"/>
                    <a:pt x="3543" y="1"/>
                    <a:pt x="2273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2" name="Google Shape;882;p34"/>
            <p:cNvSpPr/>
            <p:nvPr/>
          </p:nvSpPr>
          <p:spPr>
            <a:xfrm>
              <a:off x="7715206" y="1818244"/>
              <a:ext cx="146212" cy="5384"/>
            </a:xfrm>
            <a:custGeom>
              <a:avLst/>
              <a:gdLst/>
              <a:ahLst/>
              <a:cxnLst/>
              <a:rect l="l" t="t" r="r" b="b"/>
              <a:pathLst>
                <a:path w="4562" h="168" extrusionOk="0">
                  <a:moveTo>
                    <a:pt x="2289" y="0"/>
                  </a:moveTo>
                  <a:cubicBezTo>
                    <a:pt x="1020" y="0"/>
                    <a:pt x="0" y="34"/>
                    <a:pt x="0" y="84"/>
                  </a:cubicBezTo>
                  <a:cubicBezTo>
                    <a:pt x="0" y="134"/>
                    <a:pt x="1020" y="167"/>
                    <a:pt x="2289" y="167"/>
                  </a:cubicBezTo>
                  <a:cubicBezTo>
                    <a:pt x="3543" y="167"/>
                    <a:pt x="4562" y="134"/>
                    <a:pt x="4562" y="84"/>
                  </a:cubicBezTo>
                  <a:cubicBezTo>
                    <a:pt x="4562" y="34"/>
                    <a:pt x="3543" y="0"/>
                    <a:pt x="228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3" name="Google Shape;883;p34"/>
            <p:cNvSpPr/>
            <p:nvPr/>
          </p:nvSpPr>
          <p:spPr>
            <a:xfrm>
              <a:off x="7712001" y="1878755"/>
              <a:ext cx="146212" cy="5384"/>
            </a:xfrm>
            <a:custGeom>
              <a:avLst/>
              <a:gdLst/>
              <a:ahLst/>
              <a:cxnLst/>
              <a:rect l="l" t="t" r="r" b="b"/>
              <a:pathLst>
                <a:path w="4562" h="168" extrusionOk="0">
                  <a:moveTo>
                    <a:pt x="2273" y="0"/>
                  </a:moveTo>
                  <a:cubicBezTo>
                    <a:pt x="1019" y="0"/>
                    <a:pt x="0" y="34"/>
                    <a:pt x="0" y="84"/>
                  </a:cubicBezTo>
                  <a:cubicBezTo>
                    <a:pt x="0" y="117"/>
                    <a:pt x="1019" y="167"/>
                    <a:pt x="2273" y="167"/>
                  </a:cubicBezTo>
                  <a:cubicBezTo>
                    <a:pt x="3542" y="167"/>
                    <a:pt x="4562" y="117"/>
                    <a:pt x="4562" y="84"/>
                  </a:cubicBezTo>
                  <a:cubicBezTo>
                    <a:pt x="4562" y="34"/>
                    <a:pt x="3542" y="0"/>
                    <a:pt x="2273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4" name="Google Shape;884;p34"/>
            <p:cNvSpPr/>
            <p:nvPr/>
          </p:nvSpPr>
          <p:spPr>
            <a:xfrm>
              <a:off x="7544380" y="1266664"/>
              <a:ext cx="1580321" cy="5384"/>
            </a:xfrm>
            <a:custGeom>
              <a:avLst/>
              <a:gdLst/>
              <a:ahLst/>
              <a:cxnLst/>
              <a:rect l="l" t="t" r="r" b="b"/>
              <a:pathLst>
                <a:path w="49308" h="168" extrusionOk="0">
                  <a:moveTo>
                    <a:pt x="24662" y="1"/>
                  </a:moveTo>
                  <a:cubicBezTo>
                    <a:pt x="11045" y="1"/>
                    <a:pt x="0" y="34"/>
                    <a:pt x="0" y="84"/>
                  </a:cubicBezTo>
                  <a:cubicBezTo>
                    <a:pt x="0" y="118"/>
                    <a:pt x="11045" y="168"/>
                    <a:pt x="24662" y="168"/>
                  </a:cubicBezTo>
                  <a:cubicBezTo>
                    <a:pt x="38280" y="168"/>
                    <a:pt x="49307" y="118"/>
                    <a:pt x="49307" y="84"/>
                  </a:cubicBezTo>
                  <a:cubicBezTo>
                    <a:pt x="49307" y="34"/>
                    <a:pt x="38280" y="1"/>
                    <a:pt x="24662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5" name="Google Shape;885;p34"/>
            <p:cNvSpPr/>
            <p:nvPr/>
          </p:nvSpPr>
          <p:spPr>
            <a:xfrm>
              <a:off x="7625787" y="1197051"/>
              <a:ext cx="43941" cy="37627"/>
            </a:xfrm>
            <a:custGeom>
              <a:avLst/>
              <a:gdLst/>
              <a:ahLst/>
              <a:cxnLst/>
              <a:rect l="l" t="t" r="r" b="b"/>
              <a:pathLst>
                <a:path w="1371" h="1174" extrusionOk="0">
                  <a:moveTo>
                    <a:pt x="785" y="0"/>
                  </a:moveTo>
                  <a:cubicBezTo>
                    <a:pt x="267" y="0"/>
                    <a:pt x="0" y="635"/>
                    <a:pt x="384" y="1003"/>
                  </a:cubicBezTo>
                  <a:cubicBezTo>
                    <a:pt x="502" y="1121"/>
                    <a:pt x="646" y="1173"/>
                    <a:pt x="787" y="1173"/>
                  </a:cubicBezTo>
                  <a:cubicBezTo>
                    <a:pt x="1085" y="1173"/>
                    <a:pt x="1370" y="937"/>
                    <a:pt x="1370" y="585"/>
                  </a:cubicBezTo>
                  <a:cubicBezTo>
                    <a:pt x="1370" y="268"/>
                    <a:pt x="1120" y="0"/>
                    <a:pt x="78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6" name="Google Shape;886;p34"/>
            <p:cNvSpPr/>
            <p:nvPr/>
          </p:nvSpPr>
          <p:spPr>
            <a:xfrm>
              <a:off x="7706649" y="1197051"/>
              <a:ext cx="43941" cy="37627"/>
            </a:xfrm>
            <a:custGeom>
              <a:avLst/>
              <a:gdLst/>
              <a:ahLst/>
              <a:cxnLst/>
              <a:rect l="l" t="t" r="r" b="b"/>
              <a:pathLst>
                <a:path w="1371" h="1174" extrusionOk="0">
                  <a:moveTo>
                    <a:pt x="785" y="0"/>
                  </a:moveTo>
                  <a:cubicBezTo>
                    <a:pt x="251" y="0"/>
                    <a:pt x="0" y="635"/>
                    <a:pt x="368" y="1003"/>
                  </a:cubicBezTo>
                  <a:cubicBezTo>
                    <a:pt x="485" y="1121"/>
                    <a:pt x="631" y="1173"/>
                    <a:pt x="774" y="1173"/>
                  </a:cubicBezTo>
                  <a:cubicBezTo>
                    <a:pt x="1077" y="1173"/>
                    <a:pt x="1370" y="937"/>
                    <a:pt x="1370" y="585"/>
                  </a:cubicBezTo>
                  <a:cubicBezTo>
                    <a:pt x="1370" y="268"/>
                    <a:pt x="1103" y="0"/>
                    <a:pt x="78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7" name="Google Shape;887;p34"/>
            <p:cNvSpPr/>
            <p:nvPr/>
          </p:nvSpPr>
          <p:spPr>
            <a:xfrm>
              <a:off x="7786966" y="1197051"/>
              <a:ext cx="43941" cy="37627"/>
            </a:xfrm>
            <a:custGeom>
              <a:avLst/>
              <a:gdLst/>
              <a:ahLst/>
              <a:cxnLst/>
              <a:rect l="l" t="t" r="r" b="b"/>
              <a:pathLst>
                <a:path w="1371" h="1174" extrusionOk="0">
                  <a:moveTo>
                    <a:pt x="786" y="0"/>
                  </a:moveTo>
                  <a:cubicBezTo>
                    <a:pt x="251" y="0"/>
                    <a:pt x="0" y="635"/>
                    <a:pt x="368" y="1003"/>
                  </a:cubicBezTo>
                  <a:cubicBezTo>
                    <a:pt x="486" y="1121"/>
                    <a:pt x="631" y="1173"/>
                    <a:pt x="774" y="1173"/>
                  </a:cubicBezTo>
                  <a:cubicBezTo>
                    <a:pt x="1077" y="1173"/>
                    <a:pt x="1370" y="937"/>
                    <a:pt x="1370" y="585"/>
                  </a:cubicBezTo>
                  <a:cubicBezTo>
                    <a:pt x="1370" y="268"/>
                    <a:pt x="1103" y="0"/>
                    <a:pt x="786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8" name="Google Shape;888;p34"/>
            <p:cNvSpPr/>
            <p:nvPr/>
          </p:nvSpPr>
          <p:spPr>
            <a:xfrm>
              <a:off x="4706705" y="1223300"/>
              <a:ext cx="1060342" cy="697793"/>
            </a:xfrm>
            <a:custGeom>
              <a:avLst/>
              <a:gdLst/>
              <a:ahLst/>
              <a:cxnLst/>
              <a:rect l="l" t="t" r="r" b="b"/>
              <a:pathLst>
                <a:path w="33084" h="21772" extrusionOk="0">
                  <a:moveTo>
                    <a:pt x="2256" y="0"/>
                  </a:moveTo>
                  <a:lnTo>
                    <a:pt x="1" y="21771"/>
                  </a:lnTo>
                  <a:lnTo>
                    <a:pt x="30561" y="21771"/>
                  </a:lnTo>
                  <a:lnTo>
                    <a:pt x="33084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9" name="Google Shape;889;p34"/>
            <p:cNvSpPr/>
            <p:nvPr/>
          </p:nvSpPr>
          <p:spPr>
            <a:xfrm>
              <a:off x="4812726" y="1335731"/>
              <a:ext cx="51440" cy="468603"/>
            </a:xfrm>
            <a:custGeom>
              <a:avLst/>
              <a:gdLst/>
              <a:ahLst/>
              <a:cxnLst/>
              <a:rect l="l" t="t" r="r" b="b"/>
              <a:pathLst>
                <a:path w="1605" h="14621" extrusionOk="0">
                  <a:moveTo>
                    <a:pt x="1554" y="1"/>
                  </a:moveTo>
                  <a:cubicBezTo>
                    <a:pt x="1503" y="1"/>
                    <a:pt x="1136" y="3269"/>
                    <a:pt x="719" y="7303"/>
                  </a:cubicBezTo>
                  <a:cubicBezTo>
                    <a:pt x="302" y="11329"/>
                    <a:pt x="1" y="14604"/>
                    <a:pt x="51" y="14621"/>
                  </a:cubicBezTo>
                  <a:cubicBezTo>
                    <a:pt x="84" y="14621"/>
                    <a:pt x="469" y="11346"/>
                    <a:pt x="886" y="7319"/>
                  </a:cubicBezTo>
                  <a:cubicBezTo>
                    <a:pt x="1304" y="3276"/>
                    <a:pt x="1605" y="1"/>
                    <a:pt x="1555" y="1"/>
                  </a:cubicBezTo>
                  <a:cubicBezTo>
                    <a:pt x="1555" y="1"/>
                    <a:pt x="1555" y="1"/>
                    <a:pt x="1554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0" name="Google Shape;890;p34"/>
            <p:cNvSpPr/>
            <p:nvPr/>
          </p:nvSpPr>
          <p:spPr>
            <a:xfrm>
              <a:off x="4894133" y="1356628"/>
              <a:ext cx="98586" cy="4840"/>
            </a:xfrm>
            <a:custGeom>
              <a:avLst/>
              <a:gdLst/>
              <a:ahLst/>
              <a:cxnLst/>
              <a:rect l="l" t="t" r="r" b="b"/>
              <a:pathLst>
                <a:path w="3076" h="151" extrusionOk="0">
                  <a:moveTo>
                    <a:pt x="1538" y="1"/>
                  </a:moveTo>
                  <a:cubicBezTo>
                    <a:pt x="686" y="1"/>
                    <a:pt x="1" y="34"/>
                    <a:pt x="1" y="67"/>
                  </a:cubicBezTo>
                  <a:cubicBezTo>
                    <a:pt x="1" y="118"/>
                    <a:pt x="686" y="151"/>
                    <a:pt x="1538" y="151"/>
                  </a:cubicBezTo>
                  <a:cubicBezTo>
                    <a:pt x="2390" y="151"/>
                    <a:pt x="3075" y="118"/>
                    <a:pt x="3075" y="67"/>
                  </a:cubicBezTo>
                  <a:cubicBezTo>
                    <a:pt x="3075" y="34"/>
                    <a:pt x="2390" y="1"/>
                    <a:pt x="1538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1" name="Google Shape;891;p34"/>
            <p:cNvSpPr/>
            <p:nvPr/>
          </p:nvSpPr>
          <p:spPr>
            <a:xfrm>
              <a:off x="5019449" y="1356628"/>
              <a:ext cx="391491" cy="4840"/>
            </a:xfrm>
            <a:custGeom>
              <a:avLst/>
              <a:gdLst/>
              <a:ahLst/>
              <a:cxnLst/>
              <a:rect l="l" t="t" r="r" b="b"/>
              <a:pathLst>
                <a:path w="12215" h="151" extrusionOk="0">
                  <a:moveTo>
                    <a:pt x="6116" y="1"/>
                  </a:moveTo>
                  <a:cubicBezTo>
                    <a:pt x="2724" y="1"/>
                    <a:pt x="0" y="34"/>
                    <a:pt x="0" y="67"/>
                  </a:cubicBezTo>
                  <a:cubicBezTo>
                    <a:pt x="0" y="118"/>
                    <a:pt x="2741" y="151"/>
                    <a:pt x="6116" y="151"/>
                  </a:cubicBezTo>
                  <a:cubicBezTo>
                    <a:pt x="9491" y="151"/>
                    <a:pt x="12214" y="118"/>
                    <a:pt x="12214" y="67"/>
                  </a:cubicBezTo>
                  <a:cubicBezTo>
                    <a:pt x="12214" y="34"/>
                    <a:pt x="9491" y="1"/>
                    <a:pt x="611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2" name="Google Shape;892;p34"/>
            <p:cNvSpPr/>
            <p:nvPr/>
          </p:nvSpPr>
          <p:spPr>
            <a:xfrm>
              <a:off x="4882884" y="1604567"/>
              <a:ext cx="98041" cy="4872"/>
            </a:xfrm>
            <a:custGeom>
              <a:avLst/>
              <a:gdLst/>
              <a:ahLst/>
              <a:cxnLst/>
              <a:rect l="l" t="t" r="r" b="b"/>
              <a:pathLst>
                <a:path w="3059" h="152" extrusionOk="0">
                  <a:moveTo>
                    <a:pt x="1521" y="1"/>
                  </a:moveTo>
                  <a:cubicBezTo>
                    <a:pt x="686" y="1"/>
                    <a:pt x="1" y="34"/>
                    <a:pt x="1" y="67"/>
                  </a:cubicBezTo>
                  <a:cubicBezTo>
                    <a:pt x="1" y="118"/>
                    <a:pt x="686" y="151"/>
                    <a:pt x="1521" y="151"/>
                  </a:cubicBezTo>
                  <a:cubicBezTo>
                    <a:pt x="2373" y="151"/>
                    <a:pt x="3058" y="118"/>
                    <a:pt x="3058" y="67"/>
                  </a:cubicBezTo>
                  <a:cubicBezTo>
                    <a:pt x="3058" y="34"/>
                    <a:pt x="2373" y="1"/>
                    <a:pt x="152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3" name="Google Shape;893;p34"/>
            <p:cNvSpPr/>
            <p:nvPr/>
          </p:nvSpPr>
          <p:spPr>
            <a:xfrm>
              <a:off x="5007655" y="1604567"/>
              <a:ext cx="392036" cy="4872"/>
            </a:xfrm>
            <a:custGeom>
              <a:avLst/>
              <a:gdLst/>
              <a:ahLst/>
              <a:cxnLst/>
              <a:rect l="l" t="t" r="r" b="b"/>
              <a:pathLst>
                <a:path w="12232" h="152" extrusionOk="0">
                  <a:moveTo>
                    <a:pt x="6116" y="1"/>
                  </a:moveTo>
                  <a:cubicBezTo>
                    <a:pt x="2741" y="1"/>
                    <a:pt x="1" y="34"/>
                    <a:pt x="1" y="67"/>
                  </a:cubicBezTo>
                  <a:cubicBezTo>
                    <a:pt x="1" y="118"/>
                    <a:pt x="2741" y="151"/>
                    <a:pt x="6116" y="151"/>
                  </a:cubicBezTo>
                  <a:cubicBezTo>
                    <a:pt x="9491" y="151"/>
                    <a:pt x="12232" y="118"/>
                    <a:pt x="12232" y="67"/>
                  </a:cubicBezTo>
                  <a:cubicBezTo>
                    <a:pt x="12232" y="34"/>
                    <a:pt x="9491" y="1"/>
                    <a:pt x="611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4" name="Google Shape;894;p34"/>
            <p:cNvSpPr/>
            <p:nvPr/>
          </p:nvSpPr>
          <p:spPr>
            <a:xfrm>
              <a:off x="4874327" y="1718633"/>
              <a:ext cx="391491" cy="5384"/>
            </a:xfrm>
            <a:custGeom>
              <a:avLst/>
              <a:gdLst/>
              <a:ahLst/>
              <a:cxnLst/>
              <a:rect l="l" t="t" r="r" b="b"/>
              <a:pathLst>
                <a:path w="12215" h="168" extrusionOk="0">
                  <a:moveTo>
                    <a:pt x="6116" y="1"/>
                  </a:moveTo>
                  <a:cubicBezTo>
                    <a:pt x="2741" y="1"/>
                    <a:pt x="0" y="34"/>
                    <a:pt x="0" y="84"/>
                  </a:cubicBezTo>
                  <a:cubicBezTo>
                    <a:pt x="0" y="134"/>
                    <a:pt x="2741" y="168"/>
                    <a:pt x="6116" y="168"/>
                  </a:cubicBezTo>
                  <a:cubicBezTo>
                    <a:pt x="9491" y="168"/>
                    <a:pt x="12214" y="134"/>
                    <a:pt x="12214" y="84"/>
                  </a:cubicBezTo>
                  <a:cubicBezTo>
                    <a:pt x="12214" y="34"/>
                    <a:pt x="9491" y="1"/>
                    <a:pt x="611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5" name="Google Shape;895;p34"/>
            <p:cNvSpPr/>
            <p:nvPr/>
          </p:nvSpPr>
          <p:spPr>
            <a:xfrm>
              <a:off x="4897338" y="1426241"/>
              <a:ext cx="138744" cy="5384"/>
            </a:xfrm>
            <a:custGeom>
              <a:avLst/>
              <a:gdLst/>
              <a:ahLst/>
              <a:cxnLst/>
              <a:rect l="l" t="t" r="r" b="b"/>
              <a:pathLst>
                <a:path w="4329" h="168" extrusionOk="0">
                  <a:moveTo>
                    <a:pt x="2173" y="1"/>
                  </a:moveTo>
                  <a:cubicBezTo>
                    <a:pt x="970" y="1"/>
                    <a:pt x="1" y="34"/>
                    <a:pt x="1" y="84"/>
                  </a:cubicBezTo>
                  <a:cubicBezTo>
                    <a:pt x="1" y="134"/>
                    <a:pt x="970" y="168"/>
                    <a:pt x="2173" y="168"/>
                  </a:cubicBezTo>
                  <a:cubicBezTo>
                    <a:pt x="3359" y="168"/>
                    <a:pt x="4328" y="134"/>
                    <a:pt x="4328" y="84"/>
                  </a:cubicBezTo>
                  <a:cubicBezTo>
                    <a:pt x="4328" y="34"/>
                    <a:pt x="3359" y="1"/>
                    <a:pt x="2173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6" name="Google Shape;896;p34"/>
            <p:cNvSpPr/>
            <p:nvPr/>
          </p:nvSpPr>
          <p:spPr>
            <a:xfrm>
              <a:off x="4894133" y="1529057"/>
              <a:ext cx="138200" cy="4872"/>
            </a:xfrm>
            <a:custGeom>
              <a:avLst/>
              <a:gdLst/>
              <a:ahLst/>
              <a:cxnLst/>
              <a:rect l="l" t="t" r="r" b="b"/>
              <a:pathLst>
                <a:path w="4312" h="152" extrusionOk="0">
                  <a:moveTo>
                    <a:pt x="2156" y="1"/>
                  </a:moveTo>
                  <a:cubicBezTo>
                    <a:pt x="970" y="1"/>
                    <a:pt x="1" y="34"/>
                    <a:pt x="1" y="84"/>
                  </a:cubicBezTo>
                  <a:cubicBezTo>
                    <a:pt x="1" y="118"/>
                    <a:pt x="970" y="151"/>
                    <a:pt x="2156" y="151"/>
                  </a:cubicBezTo>
                  <a:cubicBezTo>
                    <a:pt x="3342" y="151"/>
                    <a:pt x="4311" y="118"/>
                    <a:pt x="4311" y="84"/>
                  </a:cubicBezTo>
                  <a:cubicBezTo>
                    <a:pt x="4311" y="34"/>
                    <a:pt x="3342" y="1"/>
                    <a:pt x="215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7" name="Google Shape;897;p34"/>
            <p:cNvSpPr/>
            <p:nvPr/>
          </p:nvSpPr>
          <p:spPr>
            <a:xfrm>
              <a:off x="5010892" y="1675782"/>
              <a:ext cx="138712" cy="4872"/>
            </a:xfrm>
            <a:custGeom>
              <a:avLst/>
              <a:gdLst/>
              <a:ahLst/>
              <a:cxnLst/>
              <a:rect l="l" t="t" r="r" b="b"/>
              <a:pathLst>
                <a:path w="4328" h="152" extrusionOk="0">
                  <a:moveTo>
                    <a:pt x="2172" y="1"/>
                  </a:moveTo>
                  <a:cubicBezTo>
                    <a:pt x="969" y="1"/>
                    <a:pt x="0" y="34"/>
                    <a:pt x="0" y="84"/>
                  </a:cubicBezTo>
                  <a:cubicBezTo>
                    <a:pt x="0" y="118"/>
                    <a:pt x="969" y="151"/>
                    <a:pt x="2172" y="151"/>
                  </a:cubicBezTo>
                  <a:cubicBezTo>
                    <a:pt x="3359" y="151"/>
                    <a:pt x="4328" y="118"/>
                    <a:pt x="4328" y="84"/>
                  </a:cubicBezTo>
                  <a:cubicBezTo>
                    <a:pt x="4328" y="34"/>
                    <a:pt x="3359" y="1"/>
                    <a:pt x="2172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8" name="Google Shape;898;p34"/>
            <p:cNvSpPr/>
            <p:nvPr/>
          </p:nvSpPr>
          <p:spPr>
            <a:xfrm>
              <a:off x="5185981" y="1426241"/>
              <a:ext cx="353479" cy="5384"/>
            </a:xfrm>
            <a:custGeom>
              <a:avLst/>
              <a:gdLst/>
              <a:ahLst/>
              <a:cxnLst/>
              <a:rect l="l" t="t" r="r" b="b"/>
              <a:pathLst>
                <a:path w="11029" h="168" extrusionOk="0">
                  <a:moveTo>
                    <a:pt x="5515" y="1"/>
                  </a:moveTo>
                  <a:cubicBezTo>
                    <a:pt x="2474" y="1"/>
                    <a:pt x="1" y="34"/>
                    <a:pt x="1" y="84"/>
                  </a:cubicBezTo>
                  <a:cubicBezTo>
                    <a:pt x="1" y="134"/>
                    <a:pt x="2474" y="168"/>
                    <a:pt x="5515" y="168"/>
                  </a:cubicBezTo>
                  <a:cubicBezTo>
                    <a:pt x="8556" y="168"/>
                    <a:pt x="11028" y="134"/>
                    <a:pt x="11028" y="84"/>
                  </a:cubicBezTo>
                  <a:cubicBezTo>
                    <a:pt x="11028" y="34"/>
                    <a:pt x="8556" y="1"/>
                    <a:pt x="5515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9" name="Google Shape;899;p34"/>
            <p:cNvSpPr/>
            <p:nvPr/>
          </p:nvSpPr>
          <p:spPr>
            <a:xfrm>
              <a:off x="5076754" y="1534954"/>
              <a:ext cx="353447" cy="5384"/>
            </a:xfrm>
            <a:custGeom>
              <a:avLst/>
              <a:gdLst/>
              <a:ahLst/>
              <a:cxnLst/>
              <a:rect l="l" t="t" r="r" b="b"/>
              <a:pathLst>
                <a:path w="11028" h="168" extrusionOk="0">
                  <a:moveTo>
                    <a:pt x="5514" y="1"/>
                  </a:moveTo>
                  <a:cubicBezTo>
                    <a:pt x="2473" y="1"/>
                    <a:pt x="0" y="34"/>
                    <a:pt x="0" y="84"/>
                  </a:cubicBezTo>
                  <a:cubicBezTo>
                    <a:pt x="0" y="117"/>
                    <a:pt x="2473" y="168"/>
                    <a:pt x="5514" y="168"/>
                  </a:cubicBezTo>
                  <a:cubicBezTo>
                    <a:pt x="8555" y="168"/>
                    <a:pt x="11028" y="117"/>
                    <a:pt x="11028" y="84"/>
                  </a:cubicBezTo>
                  <a:cubicBezTo>
                    <a:pt x="11028" y="34"/>
                    <a:pt x="8572" y="1"/>
                    <a:pt x="5514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0" name="Google Shape;900;p34"/>
            <p:cNvSpPr/>
            <p:nvPr/>
          </p:nvSpPr>
          <p:spPr>
            <a:xfrm>
              <a:off x="5198320" y="1675782"/>
              <a:ext cx="353447" cy="4872"/>
            </a:xfrm>
            <a:custGeom>
              <a:avLst/>
              <a:gdLst/>
              <a:ahLst/>
              <a:cxnLst/>
              <a:rect l="l" t="t" r="r" b="b"/>
              <a:pathLst>
                <a:path w="11028" h="152" extrusionOk="0">
                  <a:moveTo>
                    <a:pt x="5514" y="1"/>
                  </a:moveTo>
                  <a:cubicBezTo>
                    <a:pt x="2473" y="1"/>
                    <a:pt x="0" y="34"/>
                    <a:pt x="0" y="84"/>
                  </a:cubicBezTo>
                  <a:cubicBezTo>
                    <a:pt x="0" y="118"/>
                    <a:pt x="2473" y="151"/>
                    <a:pt x="5514" y="151"/>
                  </a:cubicBezTo>
                  <a:cubicBezTo>
                    <a:pt x="8572" y="151"/>
                    <a:pt x="11028" y="118"/>
                    <a:pt x="11028" y="84"/>
                  </a:cubicBezTo>
                  <a:cubicBezTo>
                    <a:pt x="11028" y="34"/>
                    <a:pt x="8572" y="1"/>
                    <a:pt x="5514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1" name="Google Shape;901;p34"/>
            <p:cNvSpPr/>
            <p:nvPr/>
          </p:nvSpPr>
          <p:spPr>
            <a:xfrm>
              <a:off x="4875384" y="1801642"/>
              <a:ext cx="354024" cy="4840"/>
            </a:xfrm>
            <a:custGeom>
              <a:avLst/>
              <a:gdLst/>
              <a:ahLst/>
              <a:cxnLst/>
              <a:rect l="l" t="t" r="r" b="b"/>
              <a:pathLst>
                <a:path w="11046" h="151" extrusionOk="0">
                  <a:moveTo>
                    <a:pt x="5531" y="0"/>
                  </a:moveTo>
                  <a:cubicBezTo>
                    <a:pt x="2474" y="0"/>
                    <a:pt x="1" y="34"/>
                    <a:pt x="1" y="84"/>
                  </a:cubicBezTo>
                  <a:cubicBezTo>
                    <a:pt x="1" y="117"/>
                    <a:pt x="2474" y="151"/>
                    <a:pt x="5531" y="151"/>
                  </a:cubicBezTo>
                  <a:cubicBezTo>
                    <a:pt x="8572" y="151"/>
                    <a:pt x="11045" y="117"/>
                    <a:pt x="11045" y="84"/>
                  </a:cubicBezTo>
                  <a:cubicBezTo>
                    <a:pt x="11045" y="34"/>
                    <a:pt x="8572" y="0"/>
                    <a:pt x="5531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2" name="Google Shape;902;p34"/>
            <p:cNvSpPr/>
            <p:nvPr/>
          </p:nvSpPr>
          <p:spPr>
            <a:xfrm>
              <a:off x="5266843" y="1801642"/>
              <a:ext cx="353479" cy="4840"/>
            </a:xfrm>
            <a:custGeom>
              <a:avLst/>
              <a:gdLst/>
              <a:ahLst/>
              <a:cxnLst/>
              <a:rect l="l" t="t" r="r" b="b"/>
              <a:pathLst>
                <a:path w="11029" h="151" extrusionOk="0">
                  <a:moveTo>
                    <a:pt x="5515" y="0"/>
                  </a:moveTo>
                  <a:cubicBezTo>
                    <a:pt x="2457" y="0"/>
                    <a:pt x="1" y="34"/>
                    <a:pt x="1" y="84"/>
                  </a:cubicBezTo>
                  <a:cubicBezTo>
                    <a:pt x="1" y="117"/>
                    <a:pt x="2457" y="151"/>
                    <a:pt x="5515" y="151"/>
                  </a:cubicBezTo>
                  <a:cubicBezTo>
                    <a:pt x="8556" y="151"/>
                    <a:pt x="11028" y="117"/>
                    <a:pt x="11028" y="84"/>
                  </a:cubicBezTo>
                  <a:cubicBezTo>
                    <a:pt x="11028" y="34"/>
                    <a:pt x="8556" y="0"/>
                    <a:pt x="5515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3" name="Google Shape;903;p34"/>
            <p:cNvSpPr/>
            <p:nvPr/>
          </p:nvSpPr>
          <p:spPr>
            <a:xfrm>
              <a:off x="4875384" y="1842346"/>
              <a:ext cx="354024" cy="5384"/>
            </a:xfrm>
            <a:custGeom>
              <a:avLst/>
              <a:gdLst/>
              <a:ahLst/>
              <a:cxnLst/>
              <a:rect l="l" t="t" r="r" b="b"/>
              <a:pathLst>
                <a:path w="11046" h="168" extrusionOk="0">
                  <a:moveTo>
                    <a:pt x="5531" y="0"/>
                  </a:moveTo>
                  <a:cubicBezTo>
                    <a:pt x="2474" y="0"/>
                    <a:pt x="1" y="34"/>
                    <a:pt x="1" y="84"/>
                  </a:cubicBezTo>
                  <a:cubicBezTo>
                    <a:pt x="1" y="134"/>
                    <a:pt x="2474" y="167"/>
                    <a:pt x="5531" y="167"/>
                  </a:cubicBezTo>
                  <a:cubicBezTo>
                    <a:pt x="8572" y="167"/>
                    <a:pt x="11045" y="134"/>
                    <a:pt x="11045" y="84"/>
                  </a:cubicBezTo>
                  <a:cubicBezTo>
                    <a:pt x="11045" y="34"/>
                    <a:pt x="8572" y="0"/>
                    <a:pt x="5531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4" name="Google Shape;904;p34"/>
            <p:cNvSpPr/>
            <p:nvPr/>
          </p:nvSpPr>
          <p:spPr>
            <a:xfrm>
              <a:off x="4892531" y="1455695"/>
              <a:ext cx="353992" cy="5384"/>
            </a:xfrm>
            <a:custGeom>
              <a:avLst/>
              <a:gdLst/>
              <a:ahLst/>
              <a:cxnLst/>
              <a:rect l="l" t="t" r="r" b="b"/>
              <a:pathLst>
                <a:path w="11045" h="168" extrusionOk="0">
                  <a:moveTo>
                    <a:pt x="5531" y="1"/>
                  </a:moveTo>
                  <a:cubicBezTo>
                    <a:pt x="2473" y="1"/>
                    <a:pt x="1" y="34"/>
                    <a:pt x="1" y="84"/>
                  </a:cubicBezTo>
                  <a:cubicBezTo>
                    <a:pt x="1" y="134"/>
                    <a:pt x="2473" y="168"/>
                    <a:pt x="5531" y="168"/>
                  </a:cubicBezTo>
                  <a:cubicBezTo>
                    <a:pt x="8572" y="168"/>
                    <a:pt x="11045" y="134"/>
                    <a:pt x="11045" y="84"/>
                  </a:cubicBezTo>
                  <a:cubicBezTo>
                    <a:pt x="11045" y="34"/>
                    <a:pt x="8572" y="1"/>
                    <a:pt x="553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5" name="Google Shape;905;p34"/>
            <p:cNvSpPr/>
            <p:nvPr/>
          </p:nvSpPr>
          <p:spPr>
            <a:xfrm>
              <a:off x="5061210" y="1426785"/>
              <a:ext cx="91086" cy="4840"/>
            </a:xfrm>
            <a:custGeom>
              <a:avLst/>
              <a:gdLst/>
              <a:ahLst/>
              <a:cxnLst/>
              <a:rect l="l" t="t" r="r" b="b"/>
              <a:pathLst>
                <a:path w="2842" h="151" extrusionOk="0">
                  <a:moveTo>
                    <a:pt x="1421" y="0"/>
                  </a:moveTo>
                  <a:cubicBezTo>
                    <a:pt x="636" y="0"/>
                    <a:pt x="1" y="34"/>
                    <a:pt x="1" y="84"/>
                  </a:cubicBezTo>
                  <a:cubicBezTo>
                    <a:pt x="1" y="117"/>
                    <a:pt x="636" y="151"/>
                    <a:pt x="1421" y="151"/>
                  </a:cubicBezTo>
                  <a:cubicBezTo>
                    <a:pt x="2206" y="151"/>
                    <a:pt x="2841" y="117"/>
                    <a:pt x="2841" y="84"/>
                  </a:cubicBezTo>
                  <a:cubicBezTo>
                    <a:pt x="2841" y="34"/>
                    <a:pt x="2206" y="0"/>
                    <a:pt x="1421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6" name="Google Shape;906;p34"/>
            <p:cNvSpPr/>
            <p:nvPr/>
          </p:nvSpPr>
          <p:spPr>
            <a:xfrm>
              <a:off x="4878621" y="1638315"/>
              <a:ext cx="91054" cy="4840"/>
            </a:xfrm>
            <a:custGeom>
              <a:avLst/>
              <a:gdLst/>
              <a:ahLst/>
              <a:cxnLst/>
              <a:rect l="l" t="t" r="r" b="b"/>
              <a:pathLst>
                <a:path w="2841" h="151" extrusionOk="0">
                  <a:moveTo>
                    <a:pt x="1420" y="0"/>
                  </a:moveTo>
                  <a:cubicBezTo>
                    <a:pt x="635" y="0"/>
                    <a:pt x="0" y="34"/>
                    <a:pt x="0" y="67"/>
                  </a:cubicBezTo>
                  <a:cubicBezTo>
                    <a:pt x="0" y="117"/>
                    <a:pt x="635" y="151"/>
                    <a:pt x="1420" y="151"/>
                  </a:cubicBezTo>
                  <a:cubicBezTo>
                    <a:pt x="2206" y="151"/>
                    <a:pt x="2841" y="117"/>
                    <a:pt x="2841" y="67"/>
                  </a:cubicBezTo>
                  <a:cubicBezTo>
                    <a:pt x="2841" y="34"/>
                    <a:pt x="2206" y="0"/>
                    <a:pt x="142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7" name="Google Shape;907;p34"/>
            <p:cNvSpPr/>
            <p:nvPr/>
          </p:nvSpPr>
          <p:spPr>
            <a:xfrm>
              <a:off x="4876474" y="1675782"/>
              <a:ext cx="91054" cy="4872"/>
            </a:xfrm>
            <a:custGeom>
              <a:avLst/>
              <a:gdLst/>
              <a:ahLst/>
              <a:cxnLst/>
              <a:rect l="l" t="t" r="r" b="b"/>
              <a:pathLst>
                <a:path w="2841" h="152" extrusionOk="0">
                  <a:moveTo>
                    <a:pt x="1420" y="1"/>
                  </a:moveTo>
                  <a:cubicBezTo>
                    <a:pt x="635" y="1"/>
                    <a:pt x="0" y="34"/>
                    <a:pt x="0" y="84"/>
                  </a:cubicBezTo>
                  <a:cubicBezTo>
                    <a:pt x="0" y="118"/>
                    <a:pt x="635" y="151"/>
                    <a:pt x="1420" y="151"/>
                  </a:cubicBezTo>
                  <a:cubicBezTo>
                    <a:pt x="2206" y="151"/>
                    <a:pt x="2841" y="118"/>
                    <a:pt x="2841" y="84"/>
                  </a:cubicBezTo>
                  <a:cubicBezTo>
                    <a:pt x="2841" y="34"/>
                    <a:pt x="2206" y="1"/>
                    <a:pt x="1420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8" name="Google Shape;908;p34"/>
            <p:cNvSpPr/>
            <p:nvPr/>
          </p:nvSpPr>
          <p:spPr>
            <a:xfrm>
              <a:off x="4772055" y="1294515"/>
              <a:ext cx="984288" cy="5384"/>
            </a:xfrm>
            <a:custGeom>
              <a:avLst/>
              <a:gdLst/>
              <a:ahLst/>
              <a:cxnLst/>
              <a:rect l="l" t="t" r="r" b="b"/>
              <a:pathLst>
                <a:path w="30711" h="168" extrusionOk="0">
                  <a:moveTo>
                    <a:pt x="15355" y="0"/>
                  </a:moveTo>
                  <a:cubicBezTo>
                    <a:pt x="6867" y="0"/>
                    <a:pt x="0" y="34"/>
                    <a:pt x="0" y="84"/>
                  </a:cubicBezTo>
                  <a:cubicBezTo>
                    <a:pt x="0" y="117"/>
                    <a:pt x="6867" y="167"/>
                    <a:pt x="15355" y="167"/>
                  </a:cubicBezTo>
                  <a:cubicBezTo>
                    <a:pt x="23827" y="167"/>
                    <a:pt x="30710" y="117"/>
                    <a:pt x="30710" y="84"/>
                  </a:cubicBezTo>
                  <a:cubicBezTo>
                    <a:pt x="30710" y="34"/>
                    <a:pt x="23827" y="0"/>
                    <a:pt x="15355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9" name="Google Shape;909;p34"/>
            <p:cNvSpPr/>
            <p:nvPr/>
          </p:nvSpPr>
          <p:spPr>
            <a:xfrm>
              <a:off x="4822918" y="1252209"/>
              <a:ext cx="27339" cy="23364"/>
            </a:xfrm>
            <a:custGeom>
              <a:avLst/>
              <a:gdLst/>
              <a:ahLst/>
              <a:cxnLst/>
              <a:rect l="l" t="t" r="r" b="b"/>
              <a:pathLst>
                <a:path w="853" h="729" extrusionOk="0">
                  <a:moveTo>
                    <a:pt x="485" y="0"/>
                  </a:moveTo>
                  <a:cubicBezTo>
                    <a:pt x="167" y="0"/>
                    <a:pt x="0" y="385"/>
                    <a:pt x="234" y="619"/>
                  </a:cubicBezTo>
                  <a:cubicBezTo>
                    <a:pt x="305" y="695"/>
                    <a:pt x="395" y="728"/>
                    <a:pt x="484" y="728"/>
                  </a:cubicBezTo>
                  <a:cubicBezTo>
                    <a:pt x="670" y="728"/>
                    <a:pt x="853" y="582"/>
                    <a:pt x="853" y="368"/>
                  </a:cubicBezTo>
                  <a:cubicBezTo>
                    <a:pt x="853" y="168"/>
                    <a:pt x="685" y="0"/>
                    <a:pt x="48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0" name="Google Shape;910;p34"/>
            <p:cNvSpPr/>
            <p:nvPr/>
          </p:nvSpPr>
          <p:spPr>
            <a:xfrm>
              <a:off x="4872724" y="1252209"/>
              <a:ext cx="27339" cy="23364"/>
            </a:xfrm>
            <a:custGeom>
              <a:avLst/>
              <a:gdLst/>
              <a:ahLst/>
              <a:cxnLst/>
              <a:rect l="l" t="t" r="r" b="b"/>
              <a:pathLst>
                <a:path w="853" h="729" extrusionOk="0">
                  <a:moveTo>
                    <a:pt x="485" y="0"/>
                  </a:moveTo>
                  <a:cubicBezTo>
                    <a:pt x="167" y="0"/>
                    <a:pt x="0" y="385"/>
                    <a:pt x="234" y="619"/>
                  </a:cubicBezTo>
                  <a:cubicBezTo>
                    <a:pt x="310" y="695"/>
                    <a:pt x="402" y="728"/>
                    <a:pt x="491" y="728"/>
                  </a:cubicBezTo>
                  <a:cubicBezTo>
                    <a:pt x="677" y="728"/>
                    <a:pt x="852" y="582"/>
                    <a:pt x="852" y="368"/>
                  </a:cubicBezTo>
                  <a:cubicBezTo>
                    <a:pt x="852" y="168"/>
                    <a:pt x="685" y="0"/>
                    <a:pt x="48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1" name="Google Shape;911;p34"/>
            <p:cNvSpPr/>
            <p:nvPr/>
          </p:nvSpPr>
          <p:spPr>
            <a:xfrm>
              <a:off x="4923043" y="1252209"/>
              <a:ext cx="27371" cy="23364"/>
            </a:xfrm>
            <a:custGeom>
              <a:avLst/>
              <a:gdLst/>
              <a:ahLst/>
              <a:cxnLst/>
              <a:rect l="l" t="t" r="r" b="b"/>
              <a:pathLst>
                <a:path w="854" h="729" extrusionOk="0">
                  <a:moveTo>
                    <a:pt x="485" y="0"/>
                  </a:moveTo>
                  <a:cubicBezTo>
                    <a:pt x="168" y="0"/>
                    <a:pt x="1" y="385"/>
                    <a:pt x="235" y="619"/>
                  </a:cubicBezTo>
                  <a:cubicBezTo>
                    <a:pt x="305" y="695"/>
                    <a:pt x="395" y="728"/>
                    <a:pt x="484" y="728"/>
                  </a:cubicBezTo>
                  <a:cubicBezTo>
                    <a:pt x="670" y="728"/>
                    <a:pt x="853" y="582"/>
                    <a:pt x="853" y="368"/>
                  </a:cubicBezTo>
                  <a:cubicBezTo>
                    <a:pt x="853" y="168"/>
                    <a:pt x="686" y="0"/>
                    <a:pt x="48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2" name="Google Shape;912;p34"/>
            <p:cNvSpPr/>
            <p:nvPr/>
          </p:nvSpPr>
          <p:spPr>
            <a:xfrm>
              <a:off x="7882283" y="2757533"/>
              <a:ext cx="493762" cy="1596891"/>
            </a:xfrm>
            <a:custGeom>
              <a:avLst/>
              <a:gdLst/>
              <a:ahLst/>
              <a:cxnLst/>
              <a:rect l="l" t="t" r="r" b="b"/>
              <a:pathLst>
                <a:path w="15406" h="49825" extrusionOk="0">
                  <a:moveTo>
                    <a:pt x="0" y="0"/>
                  </a:moveTo>
                  <a:lnTo>
                    <a:pt x="0" y="49825"/>
                  </a:lnTo>
                  <a:lnTo>
                    <a:pt x="15406" y="49825"/>
                  </a:lnTo>
                  <a:lnTo>
                    <a:pt x="15406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3" name="Google Shape;913;p34"/>
            <p:cNvSpPr/>
            <p:nvPr/>
          </p:nvSpPr>
          <p:spPr>
            <a:xfrm>
              <a:off x="8376013" y="2758046"/>
              <a:ext cx="418797" cy="1596378"/>
            </a:xfrm>
            <a:custGeom>
              <a:avLst/>
              <a:gdLst/>
              <a:ahLst/>
              <a:cxnLst/>
              <a:rect l="l" t="t" r="r" b="b"/>
              <a:pathLst>
                <a:path w="13067" h="49809" extrusionOk="0">
                  <a:moveTo>
                    <a:pt x="1" y="1"/>
                  </a:moveTo>
                  <a:lnTo>
                    <a:pt x="1" y="49809"/>
                  </a:lnTo>
                  <a:lnTo>
                    <a:pt x="13067" y="49809"/>
                  </a:lnTo>
                  <a:lnTo>
                    <a:pt x="13067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4" name="Google Shape;914;p34"/>
            <p:cNvSpPr/>
            <p:nvPr/>
          </p:nvSpPr>
          <p:spPr>
            <a:xfrm>
              <a:off x="7920839" y="2822307"/>
              <a:ext cx="396298" cy="343832"/>
            </a:xfrm>
            <a:custGeom>
              <a:avLst/>
              <a:gdLst/>
              <a:ahLst/>
              <a:cxnLst/>
              <a:rect l="l" t="t" r="r" b="b"/>
              <a:pathLst>
                <a:path w="12365" h="10728" extrusionOk="0">
                  <a:moveTo>
                    <a:pt x="0" y="1"/>
                  </a:moveTo>
                  <a:lnTo>
                    <a:pt x="0" y="10728"/>
                  </a:lnTo>
                  <a:lnTo>
                    <a:pt x="12365" y="10728"/>
                  </a:lnTo>
                  <a:lnTo>
                    <a:pt x="12365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5" name="Google Shape;915;p34"/>
            <p:cNvSpPr/>
            <p:nvPr/>
          </p:nvSpPr>
          <p:spPr>
            <a:xfrm>
              <a:off x="7920839" y="3205208"/>
              <a:ext cx="396298" cy="344345"/>
            </a:xfrm>
            <a:custGeom>
              <a:avLst/>
              <a:gdLst/>
              <a:ahLst/>
              <a:cxnLst/>
              <a:rect l="l" t="t" r="r" b="b"/>
              <a:pathLst>
                <a:path w="12365" h="10744" extrusionOk="0">
                  <a:moveTo>
                    <a:pt x="0" y="0"/>
                  </a:moveTo>
                  <a:lnTo>
                    <a:pt x="0" y="10744"/>
                  </a:lnTo>
                  <a:lnTo>
                    <a:pt x="12365" y="10744"/>
                  </a:lnTo>
                  <a:lnTo>
                    <a:pt x="12365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6" name="Google Shape;916;p34"/>
            <p:cNvSpPr/>
            <p:nvPr/>
          </p:nvSpPr>
          <p:spPr>
            <a:xfrm>
              <a:off x="7920839" y="3588077"/>
              <a:ext cx="396298" cy="344377"/>
            </a:xfrm>
            <a:custGeom>
              <a:avLst/>
              <a:gdLst/>
              <a:ahLst/>
              <a:cxnLst/>
              <a:rect l="l" t="t" r="r" b="b"/>
              <a:pathLst>
                <a:path w="12365" h="10745" extrusionOk="0">
                  <a:moveTo>
                    <a:pt x="0" y="1"/>
                  </a:moveTo>
                  <a:lnTo>
                    <a:pt x="0" y="10745"/>
                  </a:lnTo>
                  <a:lnTo>
                    <a:pt x="12365" y="10745"/>
                  </a:lnTo>
                  <a:lnTo>
                    <a:pt x="12365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7" name="Google Shape;917;p34"/>
            <p:cNvSpPr/>
            <p:nvPr/>
          </p:nvSpPr>
          <p:spPr>
            <a:xfrm>
              <a:off x="7920839" y="3971523"/>
              <a:ext cx="396298" cy="343832"/>
            </a:xfrm>
            <a:custGeom>
              <a:avLst/>
              <a:gdLst/>
              <a:ahLst/>
              <a:cxnLst/>
              <a:rect l="l" t="t" r="r" b="b"/>
              <a:pathLst>
                <a:path w="12365" h="10728" extrusionOk="0">
                  <a:moveTo>
                    <a:pt x="0" y="0"/>
                  </a:moveTo>
                  <a:lnTo>
                    <a:pt x="0" y="10727"/>
                  </a:lnTo>
                  <a:lnTo>
                    <a:pt x="12365" y="10727"/>
                  </a:lnTo>
                  <a:lnTo>
                    <a:pt x="12365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8" name="Google Shape;918;p34"/>
            <p:cNvSpPr/>
            <p:nvPr/>
          </p:nvSpPr>
          <p:spPr>
            <a:xfrm>
              <a:off x="8086858" y="2872112"/>
              <a:ext cx="32146" cy="27659"/>
            </a:xfrm>
            <a:custGeom>
              <a:avLst/>
              <a:gdLst/>
              <a:ahLst/>
              <a:cxnLst/>
              <a:rect l="l" t="t" r="r" b="b"/>
              <a:pathLst>
                <a:path w="1003" h="863" extrusionOk="0">
                  <a:moveTo>
                    <a:pt x="568" y="1"/>
                  </a:moveTo>
                  <a:cubicBezTo>
                    <a:pt x="184" y="1"/>
                    <a:pt x="0" y="469"/>
                    <a:pt x="267" y="736"/>
                  </a:cubicBezTo>
                  <a:cubicBezTo>
                    <a:pt x="355" y="823"/>
                    <a:pt x="463" y="862"/>
                    <a:pt x="570" y="862"/>
                  </a:cubicBezTo>
                  <a:cubicBezTo>
                    <a:pt x="790" y="862"/>
                    <a:pt x="1003" y="694"/>
                    <a:pt x="1003" y="435"/>
                  </a:cubicBezTo>
                  <a:cubicBezTo>
                    <a:pt x="1003" y="184"/>
                    <a:pt x="802" y="1"/>
                    <a:pt x="568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9" name="Google Shape;919;p34"/>
            <p:cNvSpPr/>
            <p:nvPr/>
          </p:nvSpPr>
          <p:spPr>
            <a:xfrm>
              <a:off x="8086858" y="3259821"/>
              <a:ext cx="32146" cy="27339"/>
            </a:xfrm>
            <a:custGeom>
              <a:avLst/>
              <a:gdLst/>
              <a:ahLst/>
              <a:cxnLst/>
              <a:rect l="l" t="t" r="r" b="b"/>
              <a:pathLst>
                <a:path w="1003" h="853" extrusionOk="0">
                  <a:moveTo>
                    <a:pt x="568" y="1"/>
                  </a:moveTo>
                  <a:cubicBezTo>
                    <a:pt x="184" y="1"/>
                    <a:pt x="0" y="452"/>
                    <a:pt x="267" y="719"/>
                  </a:cubicBezTo>
                  <a:cubicBezTo>
                    <a:pt x="355" y="812"/>
                    <a:pt x="463" y="853"/>
                    <a:pt x="570" y="853"/>
                  </a:cubicBezTo>
                  <a:cubicBezTo>
                    <a:pt x="790" y="853"/>
                    <a:pt x="1003" y="677"/>
                    <a:pt x="1003" y="418"/>
                  </a:cubicBezTo>
                  <a:cubicBezTo>
                    <a:pt x="1003" y="184"/>
                    <a:pt x="802" y="1"/>
                    <a:pt x="568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0" name="Google Shape;920;p34"/>
            <p:cNvSpPr/>
            <p:nvPr/>
          </p:nvSpPr>
          <p:spPr>
            <a:xfrm>
              <a:off x="8086858" y="3646985"/>
              <a:ext cx="32146" cy="27659"/>
            </a:xfrm>
            <a:custGeom>
              <a:avLst/>
              <a:gdLst/>
              <a:ahLst/>
              <a:cxnLst/>
              <a:rect l="l" t="t" r="r" b="b"/>
              <a:pathLst>
                <a:path w="1003" h="863" extrusionOk="0">
                  <a:moveTo>
                    <a:pt x="568" y="1"/>
                  </a:moveTo>
                  <a:cubicBezTo>
                    <a:pt x="184" y="1"/>
                    <a:pt x="0" y="469"/>
                    <a:pt x="267" y="736"/>
                  </a:cubicBezTo>
                  <a:cubicBezTo>
                    <a:pt x="355" y="823"/>
                    <a:pt x="463" y="862"/>
                    <a:pt x="570" y="862"/>
                  </a:cubicBezTo>
                  <a:cubicBezTo>
                    <a:pt x="790" y="862"/>
                    <a:pt x="1003" y="694"/>
                    <a:pt x="1003" y="435"/>
                  </a:cubicBezTo>
                  <a:cubicBezTo>
                    <a:pt x="1003" y="201"/>
                    <a:pt x="802" y="1"/>
                    <a:pt x="568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1" name="Google Shape;921;p34"/>
            <p:cNvSpPr/>
            <p:nvPr/>
          </p:nvSpPr>
          <p:spPr>
            <a:xfrm>
              <a:off x="8086858" y="4034694"/>
              <a:ext cx="32146" cy="27371"/>
            </a:xfrm>
            <a:custGeom>
              <a:avLst/>
              <a:gdLst/>
              <a:ahLst/>
              <a:cxnLst/>
              <a:rect l="l" t="t" r="r" b="b"/>
              <a:pathLst>
                <a:path w="1003" h="854" extrusionOk="0">
                  <a:moveTo>
                    <a:pt x="568" y="1"/>
                  </a:moveTo>
                  <a:cubicBezTo>
                    <a:pt x="184" y="1"/>
                    <a:pt x="0" y="452"/>
                    <a:pt x="267" y="719"/>
                  </a:cubicBezTo>
                  <a:cubicBezTo>
                    <a:pt x="355" y="812"/>
                    <a:pt x="463" y="853"/>
                    <a:pt x="570" y="853"/>
                  </a:cubicBezTo>
                  <a:cubicBezTo>
                    <a:pt x="790" y="853"/>
                    <a:pt x="1003" y="678"/>
                    <a:pt x="1003" y="419"/>
                  </a:cubicBezTo>
                  <a:cubicBezTo>
                    <a:pt x="1003" y="185"/>
                    <a:pt x="802" y="1"/>
                    <a:pt x="568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2" name="Google Shape;922;p34"/>
            <p:cNvSpPr/>
            <p:nvPr/>
          </p:nvSpPr>
          <p:spPr>
            <a:xfrm>
              <a:off x="7882283" y="4354393"/>
              <a:ext cx="57337" cy="320821"/>
            </a:xfrm>
            <a:custGeom>
              <a:avLst/>
              <a:gdLst/>
              <a:ahLst/>
              <a:cxnLst/>
              <a:rect l="l" t="t" r="r" b="b"/>
              <a:pathLst>
                <a:path w="1789" h="10010" extrusionOk="0">
                  <a:moveTo>
                    <a:pt x="0" y="1"/>
                  </a:moveTo>
                  <a:lnTo>
                    <a:pt x="0" y="10009"/>
                  </a:lnTo>
                  <a:lnTo>
                    <a:pt x="1788" y="10009"/>
                  </a:lnTo>
                  <a:lnTo>
                    <a:pt x="1788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3" name="Google Shape;923;p34"/>
            <p:cNvSpPr/>
            <p:nvPr/>
          </p:nvSpPr>
          <p:spPr>
            <a:xfrm>
              <a:off x="8316593" y="4354393"/>
              <a:ext cx="57305" cy="320821"/>
            </a:xfrm>
            <a:custGeom>
              <a:avLst/>
              <a:gdLst/>
              <a:ahLst/>
              <a:cxnLst/>
              <a:rect l="l" t="t" r="r" b="b"/>
              <a:pathLst>
                <a:path w="1788" h="10010" extrusionOk="0">
                  <a:moveTo>
                    <a:pt x="0" y="1"/>
                  </a:moveTo>
                  <a:lnTo>
                    <a:pt x="0" y="10009"/>
                  </a:lnTo>
                  <a:lnTo>
                    <a:pt x="1788" y="10009"/>
                  </a:lnTo>
                  <a:lnTo>
                    <a:pt x="1788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4" name="Google Shape;924;p34"/>
            <p:cNvSpPr/>
            <p:nvPr/>
          </p:nvSpPr>
          <p:spPr>
            <a:xfrm>
              <a:off x="8731608" y="4354393"/>
              <a:ext cx="56793" cy="320821"/>
            </a:xfrm>
            <a:custGeom>
              <a:avLst/>
              <a:gdLst/>
              <a:ahLst/>
              <a:cxnLst/>
              <a:rect l="l" t="t" r="r" b="b"/>
              <a:pathLst>
                <a:path w="1772" h="10010" extrusionOk="0">
                  <a:moveTo>
                    <a:pt x="0" y="1"/>
                  </a:moveTo>
                  <a:lnTo>
                    <a:pt x="0" y="10009"/>
                  </a:lnTo>
                  <a:lnTo>
                    <a:pt x="1771" y="10009"/>
                  </a:lnTo>
                  <a:lnTo>
                    <a:pt x="177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5" name="Google Shape;925;p34"/>
            <p:cNvSpPr/>
            <p:nvPr/>
          </p:nvSpPr>
          <p:spPr>
            <a:xfrm>
              <a:off x="3690303" y="4272954"/>
              <a:ext cx="403285" cy="315853"/>
            </a:xfrm>
            <a:custGeom>
              <a:avLst/>
              <a:gdLst/>
              <a:ahLst/>
              <a:cxnLst/>
              <a:rect l="l" t="t" r="r" b="b"/>
              <a:pathLst>
                <a:path w="12583" h="9855" extrusionOk="0">
                  <a:moveTo>
                    <a:pt x="8578" y="0"/>
                  </a:moveTo>
                  <a:cubicBezTo>
                    <a:pt x="7317" y="0"/>
                    <a:pt x="6147" y="819"/>
                    <a:pt x="5498" y="1907"/>
                  </a:cubicBezTo>
                  <a:cubicBezTo>
                    <a:pt x="4930" y="2876"/>
                    <a:pt x="4696" y="4096"/>
                    <a:pt x="3827" y="4831"/>
                  </a:cubicBezTo>
                  <a:cubicBezTo>
                    <a:pt x="3376" y="5215"/>
                    <a:pt x="2791" y="5416"/>
                    <a:pt x="2240" y="5650"/>
                  </a:cubicBezTo>
                  <a:cubicBezTo>
                    <a:pt x="1688" y="5884"/>
                    <a:pt x="1070" y="6134"/>
                    <a:pt x="786" y="6669"/>
                  </a:cubicBezTo>
                  <a:cubicBezTo>
                    <a:pt x="1" y="8106"/>
                    <a:pt x="1020" y="9342"/>
                    <a:pt x="1471" y="9727"/>
                  </a:cubicBezTo>
                  <a:lnTo>
                    <a:pt x="1655" y="9610"/>
                  </a:lnTo>
                  <a:lnTo>
                    <a:pt x="9775" y="9844"/>
                  </a:lnTo>
                  <a:cubicBezTo>
                    <a:pt x="9914" y="9850"/>
                    <a:pt x="10057" y="9854"/>
                    <a:pt x="10200" y="9854"/>
                  </a:cubicBezTo>
                  <a:cubicBezTo>
                    <a:pt x="10832" y="9854"/>
                    <a:pt x="11481" y="9767"/>
                    <a:pt x="11931" y="9359"/>
                  </a:cubicBezTo>
                  <a:cubicBezTo>
                    <a:pt x="12532" y="8808"/>
                    <a:pt x="12582" y="7872"/>
                    <a:pt x="12566" y="7053"/>
                  </a:cubicBezTo>
                  <a:cubicBezTo>
                    <a:pt x="12549" y="5566"/>
                    <a:pt x="12532" y="4029"/>
                    <a:pt x="11981" y="2659"/>
                  </a:cubicBezTo>
                  <a:cubicBezTo>
                    <a:pt x="11413" y="1272"/>
                    <a:pt x="10176" y="69"/>
                    <a:pt x="8689" y="2"/>
                  </a:cubicBezTo>
                  <a:cubicBezTo>
                    <a:pt x="8652" y="1"/>
                    <a:pt x="8615" y="0"/>
                    <a:pt x="8578" y="0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6" name="Google Shape;926;p34"/>
            <p:cNvSpPr/>
            <p:nvPr/>
          </p:nvSpPr>
          <p:spPr>
            <a:xfrm>
              <a:off x="3551078" y="3872457"/>
              <a:ext cx="684428" cy="801154"/>
            </a:xfrm>
            <a:custGeom>
              <a:avLst/>
              <a:gdLst/>
              <a:ahLst/>
              <a:cxnLst/>
              <a:rect l="l" t="t" r="r" b="b"/>
              <a:pathLst>
                <a:path w="21355" h="24997" extrusionOk="0">
                  <a:moveTo>
                    <a:pt x="2423" y="201"/>
                  </a:moveTo>
                  <a:cubicBezTo>
                    <a:pt x="2507" y="652"/>
                    <a:pt x="2891" y="3075"/>
                    <a:pt x="3426" y="6349"/>
                  </a:cubicBezTo>
                  <a:lnTo>
                    <a:pt x="1287" y="6349"/>
                  </a:lnTo>
                  <a:lnTo>
                    <a:pt x="251" y="201"/>
                  </a:lnTo>
                  <a:close/>
                  <a:moveTo>
                    <a:pt x="6968" y="201"/>
                  </a:moveTo>
                  <a:lnTo>
                    <a:pt x="7453" y="6349"/>
                  </a:lnTo>
                  <a:lnTo>
                    <a:pt x="3643" y="6349"/>
                  </a:lnTo>
                  <a:cubicBezTo>
                    <a:pt x="3509" y="5497"/>
                    <a:pt x="3376" y="4695"/>
                    <a:pt x="3259" y="3977"/>
                  </a:cubicBezTo>
                  <a:cubicBezTo>
                    <a:pt x="2858" y="1487"/>
                    <a:pt x="2707" y="552"/>
                    <a:pt x="2624" y="201"/>
                  </a:cubicBezTo>
                  <a:close/>
                  <a:moveTo>
                    <a:pt x="11128" y="201"/>
                  </a:moveTo>
                  <a:lnTo>
                    <a:pt x="11262" y="6349"/>
                  </a:lnTo>
                  <a:lnTo>
                    <a:pt x="7670" y="6349"/>
                  </a:lnTo>
                  <a:lnTo>
                    <a:pt x="7185" y="201"/>
                  </a:lnTo>
                  <a:close/>
                  <a:moveTo>
                    <a:pt x="15389" y="201"/>
                  </a:moveTo>
                  <a:lnTo>
                    <a:pt x="15189" y="6349"/>
                  </a:lnTo>
                  <a:lnTo>
                    <a:pt x="11479" y="6349"/>
                  </a:lnTo>
                  <a:lnTo>
                    <a:pt x="11346" y="201"/>
                  </a:lnTo>
                  <a:close/>
                  <a:moveTo>
                    <a:pt x="18547" y="201"/>
                  </a:moveTo>
                  <a:lnTo>
                    <a:pt x="18029" y="6349"/>
                  </a:lnTo>
                  <a:lnTo>
                    <a:pt x="15406" y="6349"/>
                  </a:lnTo>
                  <a:lnTo>
                    <a:pt x="15606" y="201"/>
                  </a:lnTo>
                  <a:close/>
                  <a:moveTo>
                    <a:pt x="21103" y="201"/>
                  </a:moveTo>
                  <a:lnTo>
                    <a:pt x="20385" y="6349"/>
                  </a:lnTo>
                  <a:lnTo>
                    <a:pt x="18230" y="6349"/>
                  </a:lnTo>
                  <a:lnTo>
                    <a:pt x="18764" y="201"/>
                  </a:lnTo>
                  <a:close/>
                  <a:moveTo>
                    <a:pt x="3676" y="7937"/>
                  </a:moveTo>
                  <a:cubicBezTo>
                    <a:pt x="3994" y="9975"/>
                    <a:pt x="4361" y="12264"/>
                    <a:pt x="4729" y="14553"/>
                  </a:cubicBezTo>
                  <a:lnTo>
                    <a:pt x="2657" y="14553"/>
                  </a:lnTo>
                  <a:lnTo>
                    <a:pt x="1538" y="7937"/>
                  </a:lnTo>
                  <a:close/>
                  <a:moveTo>
                    <a:pt x="7570" y="7937"/>
                  </a:moveTo>
                  <a:lnTo>
                    <a:pt x="8087" y="14553"/>
                  </a:lnTo>
                  <a:lnTo>
                    <a:pt x="4930" y="14553"/>
                  </a:lnTo>
                  <a:cubicBezTo>
                    <a:pt x="4829" y="13885"/>
                    <a:pt x="4729" y="13200"/>
                    <a:pt x="4612" y="12532"/>
                  </a:cubicBezTo>
                  <a:cubicBezTo>
                    <a:pt x="4361" y="10961"/>
                    <a:pt x="4128" y="9407"/>
                    <a:pt x="3894" y="7937"/>
                  </a:cubicBezTo>
                  <a:close/>
                  <a:moveTo>
                    <a:pt x="11312" y="7937"/>
                  </a:moveTo>
                  <a:lnTo>
                    <a:pt x="11463" y="14553"/>
                  </a:lnTo>
                  <a:lnTo>
                    <a:pt x="8305" y="14553"/>
                  </a:lnTo>
                  <a:lnTo>
                    <a:pt x="7787" y="7937"/>
                  </a:lnTo>
                  <a:close/>
                  <a:moveTo>
                    <a:pt x="15139" y="7937"/>
                  </a:moveTo>
                  <a:lnTo>
                    <a:pt x="14921" y="14553"/>
                  </a:lnTo>
                  <a:lnTo>
                    <a:pt x="11663" y="14553"/>
                  </a:lnTo>
                  <a:lnTo>
                    <a:pt x="11513" y="7937"/>
                  </a:lnTo>
                  <a:close/>
                  <a:moveTo>
                    <a:pt x="17895" y="7937"/>
                  </a:moveTo>
                  <a:lnTo>
                    <a:pt x="17327" y="14553"/>
                  </a:lnTo>
                  <a:lnTo>
                    <a:pt x="15122" y="14553"/>
                  </a:lnTo>
                  <a:lnTo>
                    <a:pt x="15356" y="7937"/>
                  </a:lnTo>
                  <a:close/>
                  <a:moveTo>
                    <a:pt x="20201" y="7937"/>
                  </a:moveTo>
                  <a:lnTo>
                    <a:pt x="19416" y="14553"/>
                  </a:lnTo>
                  <a:lnTo>
                    <a:pt x="17528" y="14553"/>
                  </a:lnTo>
                  <a:lnTo>
                    <a:pt x="18096" y="7937"/>
                  </a:lnTo>
                  <a:close/>
                  <a:moveTo>
                    <a:pt x="4980" y="16141"/>
                  </a:moveTo>
                  <a:cubicBezTo>
                    <a:pt x="5280" y="18146"/>
                    <a:pt x="5598" y="20101"/>
                    <a:pt x="5882" y="21905"/>
                  </a:cubicBezTo>
                  <a:lnTo>
                    <a:pt x="3894" y="21905"/>
                  </a:lnTo>
                  <a:lnTo>
                    <a:pt x="2925" y="16141"/>
                  </a:lnTo>
                  <a:close/>
                  <a:moveTo>
                    <a:pt x="8221" y="16141"/>
                  </a:moveTo>
                  <a:lnTo>
                    <a:pt x="8672" y="21905"/>
                  </a:lnTo>
                  <a:lnTo>
                    <a:pt x="6099" y="21905"/>
                  </a:lnTo>
                  <a:cubicBezTo>
                    <a:pt x="5849" y="20351"/>
                    <a:pt x="5531" y="18329"/>
                    <a:pt x="5180" y="16141"/>
                  </a:cubicBezTo>
                  <a:close/>
                  <a:moveTo>
                    <a:pt x="11496" y="16141"/>
                  </a:moveTo>
                  <a:lnTo>
                    <a:pt x="11630" y="21905"/>
                  </a:lnTo>
                  <a:lnTo>
                    <a:pt x="8873" y="21905"/>
                  </a:lnTo>
                  <a:lnTo>
                    <a:pt x="8422" y="16141"/>
                  </a:lnTo>
                  <a:close/>
                  <a:moveTo>
                    <a:pt x="14854" y="16141"/>
                  </a:moveTo>
                  <a:lnTo>
                    <a:pt x="14671" y="21905"/>
                  </a:lnTo>
                  <a:lnTo>
                    <a:pt x="11847" y="21905"/>
                  </a:lnTo>
                  <a:lnTo>
                    <a:pt x="11713" y="16141"/>
                  </a:lnTo>
                  <a:close/>
                  <a:moveTo>
                    <a:pt x="17177" y="16141"/>
                  </a:moveTo>
                  <a:lnTo>
                    <a:pt x="16692" y="21905"/>
                  </a:lnTo>
                  <a:lnTo>
                    <a:pt x="14888" y="21905"/>
                  </a:lnTo>
                  <a:lnTo>
                    <a:pt x="15072" y="16141"/>
                  </a:lnTo>
                  <a:close/>
                  <a:moveTo>
                    <a:pt x="19232" y="16141"/>
                  </a:moveTo>
                  <a:lnTo>
                    <a:pt x="18547" y="21905"/>
                  </a:lnTo>
                  <a:lnTo>
                    <a:pt x="16910" y="21905"/>
                  </a:lnTo>
                  <a:lnTo>
                    <a:pt x="17394" y="16141"/>
                  </a:lnTo>
                  <a:close/>
                  <a:moveTo>
                    <a:pt x="1" y="0"/>
                  </a:moveTo>
                  <a:lnTo>
                    <a:pt x="3844" y="22824"/>
                  </a:lnTo>
                  <a:cubicBezTo>
                    <a:pt x="4011" y="23793"/>
                    <a:pt x="4712" y="24595"/>
                    <a:pt x="5665" y="24862"/>
                  </a:cubicBezTo>
                  <a:cubicBezTo>
                    <a:pt x="5681" y="24862"/>
                    <a:pt x="5715" y="24879"/>
                    <a:pt x="5732" y="24879"/>
                  </a:cubicBezTo>
                  <a:cubicBezTo>
                    <a:pt x="5798" y="24896"/>
                    <a:pt x="5865" y="24913"/>
                    <a:pt x="5932" y="24929"/>
                  </a:cubicBezTo>
                  <a:cubicBezTo>
                    <a:pt x="6066" y="24963"/>
                    <a:pt x="6216" y="24979"/>
                    <a:pt x="6367" y="24979"/>
                  </a:cubicBezTo>
                  <a:cubicBezTo>
                    <a:pt x="6367" y="24979"/>
                    <a:pt x="6367" y="24996"/>
                    <a:pt x="6367" y="24996"/>
                  </a:cubicBezTo>
                  <a:lnTo>
                    <a:pt x="6467" y="24979"/>
                  </a:lnTo>
                  <a:lnTo>
                    <a:pt x="15991" y="24979"/>
                  </a:lnTo>
                  <a:cubicBezTo>
                    <a:pt x="16158" y="24979"/>
                    <a:pt x="16342" y="24963"/>
                    <a:pt x="16509" y="24929"/>
                  </a:cubicBezTo>
                  <a:cubicBezTo>
                    <a:pt x="17645" y="24762"/>
                    <a:pt x="18530" y="23843"/>
                    <a:pt x="18664" y="22707"/>
                  </a:cubicBezTo>
                  <a:lnTo>
                    <a:pt x="20519" y="6968"/>
                  </a:lnTo>
                  <a:lnTo>
                    <a:pt x="20602" y="6349"/>
                  </a:lnTo>
                  <a:lnTo>
                    <a:pt x="21337" y="117"/>
                  </a:lnTo>
                  <a:lnTo>
                    <a:pt x="21354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7" name="Google Shape;927;p34"/>
            <p:cNvSpPr/>
            <p:nvPr/>
          </p:nvSpPr>
          <p:spPr>
            <a:xfrm>
              <a:off x="5215435" y="1824654"/>
              <a:ext cx="1158896" cy="762598"/>
            </a:xfrm>
            <a:custGeom>
              <a:avLst/>
              <a:gdLst/>
              <a:ahLst/>
              <a:cxnLst/>
              <a:rect l="l" t="t" r="r" b="b"/>
              <a:pathLst>
                <a:path w="36159" h="23794" extrusionOk="0">
                  <a:moveTo>
                    <a:pt x="2474" y="1"/>
                  </a:moveTo>
                  <a:lnTo>
                    <a:pt x="1" y="23794"/>
                  </a:lnTo>
                  <a:lnTo>
                    <a:pt x="33401" y="23794"/>
                  </a:lnTo>
                  <a:lnTo>
                    <a:pt x="36158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8" name="Google Shape;928;p34"/>
            <p:cNvSpPr/>
            <p:nvPr/>
          </p:nvSpPr>
          <p:spPr>
            <a:xfrm>
              <a:off x="5161366" y="1824654"/>
              <a:ext cx="1158319" cy="762598"/>
            </a:xfrm>
            <a:custGeom>
              <a:avLst/>
              <a:gdLst/>
              <a:ahLst/>
              <a:cxnLst/>
              <a:rect l="l" t="t" r="r" b="b"/>
              <a:pathLst>
                <a:path w="36141" h="23794" extrusionOk="0">
                  <a:moveTo>
                    <a:pt x="2456" y="1"/>
                  </a:moveTo>
                  <a:lnTo>
                    <a:pt x="0" y="23794"/>
                  </a:lnTo>
                  <a:lnTo>
                    <a:pt x="33384" y="23794"/>
                  </a:lnTo>
                  <a:lnTo>
                    <a:pt x="3614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9" name="Google Shape;929;p34"/>
            <p:cNvSpPr/>
            <p:nvPr/>
          </p:nvSpPr>
          <p:spPr>
            <a:xfrm>
              <a:off x="5198320" y="1845006"/>
              <a:ext cx="1075310" cy="707440"/>
            </a:xfrm>
            <a:custGeom>
              <a:avLst/>
              <a:gdLst/>
              <a:ahLst/>
              <a:cxnLst/>
              <a:rect l="l" t="t" r="r" b="b"/>
              <a:pathLst>
                <a:path w="33551" h="22073" extrusionOk="0">
                  <a:moveTo>
                    <a:pt x="2306" y="1"/>
                  </a:moveTo>
                  <a:lnTo>
                    <a:pt x="0" y="22073"/>
                  </a:lnTo>
                  <a:lnTo>
                    <a:pt x="30995" y="22073"/>
                  </a:lnTo>
                  <a:lnTo>
                    <a:pt x="33551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0" name="Google Shape;930;p34"/>
            <p:cNvSpPr/>
            <p:nvPr/>
          </p:nvSpPr>
          <p:spPr>
            <a:xfrm>
              <a:off x="5305944" y="1959617"/>
              <a:ext cx="50895" cy="475013"/>
            </a:xfrm>
            <a:custGeom>
              <a:avLst/>
              <a:gdLst/>
              <a:ahLst/>
              <a:cxnLst/>
              <a:rect l="l" t="t" r="r" b="b"/>
              <a:pathLst>
                <a:path w="1588" h="14821" extrusionOk="0">
                  <a:moveTo>
                    <a:pt x="1538" y="0"/>
                  </a:moveTo>
                  <a:lnTo>
                    <a:pt x="1538" y="0"/>
                  </a:lnTo>
                  <a:cubicBezTo>
                    <a:pt x="1504" y="0"/>
                    <a:pt x="1120" y="3309"/>
                    <a:pt x="702" y="7402"/>
                  </a:cubicBezTo>
                  <a:cubicBezTo>
                    <a:pt x="292" y="11267"/>
                    <a:pt x="1" y="14446"/>
                    <a:pt x="12" y="14790"/>
                  </a:cubicBezTo>
                  <a:lnTo>
                    <a:pt x="12" y="14790"/>
                  </a:lnTo>
                  <a:cubicBezTo>
                    <a:pt x="94" y="14447"/>
                    <a:pt x="458" y="11283"/>
                    <a:pt x="853" y="7419"/>
                  </a:cubicBezTo>
                  <a:cubicBezTo>
                    <a:pt x="1270" y="3325"/>
                    <a:pt x="1588" y="0"/>
                    <a:pt x="1538" y="0"/>
                  </a:cubicBezTo>
                  <a:close/>
                  <a:moveTo>
                    <a:pt x="12" y="14790"/>
                  </a:moveTo>
                  <a:cubicBezTo>
                    <a:pt x="7" y="14810"/>
                    <a:pt x="3" y="14821"/>
                    <a:pt x="1" y="14821"/>
                  </a:cubicBezTo>
                  <a:lnTo>
                    <a:pt x="17" y="14821"/>
                  </a:lnTo>
                  <a:cubicBezTo>
                    <a:pt x="14" y="14821"/>
                    <a:pt x="13" y="14810"/>
                    <a:pt x="12" y="147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1" name="Google Shape;931;p34"/>
            <p:cNvSpPr/>
            <p:nvPr/>
          </p:nvSpPr>
          <p:spPr>
            <a:xfrm>
              <a:off x="5387351" y="1981026"/>
              <a:ext cx="99643" cy="4872"/>
            </a:xfrm>
            <a:custGeom>
              <a:avLst/>
              <a:gdLst/>
              <a:ahLst/>
              <a:cxnLst/>
              <a:rect l="l" t="t" r="r" b="b"/>
              <a:pathLst>
                <a:path w="3109" h="152" extrusionOk="0">
                  <a:moveTo>
                    <a:pt x="1554" y="1"/>
                  </a:moveTo>
                  <a:cubicBezTo>
                    <a:pt x="702" y="1"/>
                    <a:pt x="0" y="34"/>
                    <a:pt x="0" y="68"/>
                  </a:cubicBezTo>
                  <a:cubicBezTo>
                    <a:pt x="0" y="118"/>
                    <a:pt x="702" y="151"/>
                    <a:pt x="1554" y="151"/>
                  </a:cubicBezTo>
                  <a:cubicBezTo>
                    <a:pt x="2423" y="151"/>
                    <a:pt x="3108" y="118"/>
                    <a:pt x="3108" y="68"/>
                  </a:cubicBezTo>
                  <a:cubicBezTo>
                    <a:pt x="3108" y="34"/>
                    <a:pt x="2423" y="1"/>
                    <a:pt x="155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2" name="Google Shape;932;p34"/>
            <p:cNvSpPr/>
            <p:nvPr/>
          </p:nvSpPr>
          <p:spPr>
            <a:xfrm>
              <a:off x="5514269" y="1981026"/>
              <a:ext cx="396843" cy="4872"/>
            </a:xfrm>
            <a:custGeom>
              <a:avLst/>
              <a:gdLst/>
              <a:ahLst/>
              <a:cxnLst/>
              <a:rect l="l" t="t" r="r" b="b"/>
              <a:pathLst>
                <a:path w="12382" h="152" extrusionOk="0">
                  <a:moveTo>
                    <a:pt x="6199" y="1"/>
                  </a:moveTo>
                  <a:cubicBezTo>
                    <a:pt x="2774" y="1"/>
                    <a:pt x="0" y="34"/>
                    <a:pt x="0" y="68"/>
                  </a:cubicBezTo>
                  <a:cubicBezTo>
                    <a:pt x="0" y="118"/>
                    <a:pt x="2774" y="151"/>
                    <a:pt x="6199" y="151"/>
                  </a:cubicBezTo>
                  <a:cubicBezTo>
                    <a:pt x="9608" y="151"/>
                    <a:pt x="12381" y="118"/>
                    <a:pt x="12381" y="68"/>
                  </a:cubicBezTo>
                  <a:cubicBezTo>
                    <a:pt x="12381" y="34"/>
                    <a:pt x="9608" y="1"/>
                    <a:pt x="6199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3" name="Google Shape;933;p34"/>
            <p:cNvSpPr/>
            <p:nvPr/>
          </p:nvSpPr>
          <p:spPr>
            <a:xfrm>
              <a:off x="5375556" y="2232202"/>
              <a:ext cx="99643" cy="4840"/>
            </a:xfrm>
            <a:custGeom>
              <a:avLst/>
              <a:gdLst/>
              <a:ahLst/>
              <a:cxnLst/>
              <a:rect l="l" t="t" r="r" b="b"/>
              <a:pathLst>
                <a:path w="3109" h="151" extrusionOk="0">
                  <a:moveTo>
                    <a:pt x="1555" y="0"/>
                  </a:moveTo>
                  <a:cubicBezTo>
                    <a:pt x="702" y="0"/>
                    <a:pt x="1" y="33"/>
                    <a:pt x="1" y="84"/>
                  </a:cubicBezTo>
                  <a:cubicBezTo>
                    <a:pt x="1" y="117"/>
                    <a:pt x="702" y="150"/>
                    <a:pt x="1555" y="150"/>
                  </a:cubicBezTo>
                  <a:cubicBezTo>
                    <a:pt x="2423" y="150"/>
                    <a:pt x="3108" y="117"/>
                    <a:pt x="3108" y="84"/>
                  </a:cubicBezTo>
                  <a:cubicBezTo>
                    <a:pt x="3108" y="33"/>
                    <a:pt x="2423" y="0"/>
                    <a:pt x="155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4" name="Google Shape;934;p34"/>
            <p:cNvSpPr/>
            <p:nvPr/>
          </p:nvSpPr>
          <p:spPr>
            <a:xfrm>
              <a:off x="5502474" y="2232202"/>
              <a:ext cx="397388" cy="4840"/>
            </a:xfrm>
            <a:custGeom>
              <a:avLst/>
              <a:gdLst/>
              <a:ahLst/>
              <a:cxnLst/>
              <a:rect l="l" t="t" r="r" b="b"/>
              <a:pathLst>
                <a:path w="12399" h="151" extrusionOk="0">
                  <a:moveTo>
                    <a:pt x="6199" y="0"/>
                  </a:moveTo>
                  <a:cubicBezTo>
                    <a:pt x="2774" y="0"/>
                    <a:pt x="1" y="33"/>
                    <a:pt x="1" y="84"/>
                  </a:cubicBezTo>
                  <a:cubicBezTo>
                    <a:pt x="1" y="117"/>
                    <a:pt x="2774" y="150"/>
                    <a:pt x="6199" y="150"/>
                  </a:cubicBezTo>
                  <a:cubicBezTo>
                    <a:pt x="9608" y="150"/>
                    <a:pt x="12398" y="117"/>
                    <a:pt x="12398" y="84"/>
                  </a:cubicBezTo>
                  <a:cubicBezTo>
                    <a:pt x="12398" y="33"/>
                    <a:pt x="9625" y="0"/>
                    <a:pt x="619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5" name="Google Shape;935;p34"/>
            <p:cNvSpPr/>
            <p:nvPr/>
          </p:nvSpPr>
          <p:spPr>
            <a:xfrm>
              <a:off x="5366999" y="2348383"/>
              <a:ext cx="397388" cy="4872"/>
            </a:xfrm>
            <a:custGeom>
              <a:avLst/>
              <a:gdLst/>
              <a:ahLst/>
              <a:cxnLst/>
              <a:rect l="l" t="t" r="r" b="b"/>
              <a:pathLst>
                <a:path w="12399" h="152" extrusionOk="0">
                  <a:moveTo>
                    <a:pt x="6199" y="1"/>
                  </a:moveTo>
                  <a:cubicBezTo>
                    <a:pt x="2774" y="1"/>
                    <a:pt x="0" y="34"/>
                    <a:pt x="0" y="68"/>
                  </a:cubicBezTo>
                  <a:cubicBezTo>
                    <a:pt x="0" y="118"/>
                    <a:pt x="2774" y="151"/>
                    <a:pt x="6199" y="151"/>
                  </a:cubicBezTo>
                  <a:cubicBezTo>
                    <a:pt x="9624" y="151"/>
                    <a:pt x="12398" y="118"/>
                    <a:pt x="12398" y="68"/>
                  </a:cubicBezTo>
                  <a:cubicBezTo>
                    <a:pt x="12398" y="34"/>
                    <a:pt x="9624" y="1"/>
                    <a:pt x="6199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6" name="Google Shape;936;p34"/>
            <p:cNvSpPr/>
            <p:nvPr/>
          </p:nvSpPr>
          <p:spPr>
            <a:xfrm>
              <a:off x="5390556" y="2051728"/>
              <a:ext cx="140347" cy="4840"/>
            </a:xfrm>
            <a:custGeom>
              <a:avLst/>
              <a:gdLst/>
              <a:ahLst/>
              <a:cxnLst/>
              <a:rect l="l" t="t" r="r" b="b"/>
              <a:pathLst>
                <a:path w="4379" h="151" extrusionOk="0">
                  <a:moveTo>
                    <a:pt x="2189" y="0"/>
                  </a:moveTo>
                  <a:cubicBezTo>
                    <a:pt x="986" y="0"/>
                    <a:pt x="0" y="34"/>
                    <a:pt x="0" y="84"/>
                  </a:cubicBezTo>
                  <a:cubicBezTo>
                    <a:pt x="0" y="117"/>
                    <a:pt x="986" y="151"/>
                    <a:pt x="2189" y="151"/>
                  </a:cubicBezTo>
                  <a:cubicBezTo>
                    <a:pt x="3409" y="151"/>
                    <a:pt x="4378" y="117"/>
                    <a:pt x="4378" y="84"/>
                  </a:cubicBezTo>
                  <a:cubicBezTo>
                    <a:pt x="4378" y="34"/>
                    <a:pt x="3409" y="0"/>
                    <a:pt x="218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7" name="Google Shape;937;p34"/>
            <p:cNvSpPr/>
            <p:nvPr/>
          </p:nvSpPr>
          <p:spPr>
            <a:xfrm>
              <a:off x="5387351" y="2155602"/>
              <a:ext cx="140315" cy="5384"/>
            </a:xfrm>
            <a:custGeom>
              <a:avLst/>
              <a:gdLst/>
              <a:ahLst/>
              <a:cxnLst/>
              <a:rect l="l" t="t" r="r" b="b"/>
              <a:pathLst>
                <a:path w="4378" h="168" extrusionOk="0">
                  <a:moveTo>
                    <a:pt x="2189" y="1"/>
                  </a:moveTo>
                  <a:cubicBezTo>
                    <a:pt x="969" y="1"/>
                    <a:pt x="0" y="51"/>
                    <a:pt x="0" y="84"/>
                  </a:cubicBezTo>
                  <a:cubicBezTo>
                    <a:pt x="0" y="134"/>
                    <a:pt x="969" y="168"/>
                    <a:pt x="2189" y="168"/>
                  </a:cubicBezTo>
                  <a:cubicBezTo>
                    <a:pt x="3392" y="168"/>
                    <a:pt x="4378" y="134"/>
                    <a:pt x="4378" y="84"/>
                  </a:cubicBezTo>
                  <a:cubicBezTo>
                    <a:pt x="4378" y="51"/>
                    <a:pt x="3392" y="1"/>
                    <a:pt x="2189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8" name="Google Shape;938;p34"/>
            <p:cNvSpPr/>
            <p:nvPr/>
          </p:nvSpPr>
          <p:spPr>
            <a:xfrm>
              <a:off x="5505679" y="2304475"/>
              <a:ext cx="140347" cy="5384"/>
            </a:xfrm>
            <a:custGeom>
              <a:avLst/>
              <a:gdLst/>
              <a:ahLst/>
              <a:cxnLst/>
              <a:rect l="l" t="t" r="r" b="b"/>
              <a:pathLst>
                <a:path w="4379" h="168" extrusionOk="0">
                  <a:moveTo>
                    <a:pt x="2190" y="1"/>
                  </a:moveTo>
                  <a:cubicBezTo>
                    <a:pt x="987" y="1"/>
                    <a:pt x="1" y="34"/>
                    <a:pt x="1" y="84"/>
                  </a:cubicBezTo>
                  <a:cubicBezTo>
                    <a:pt x="1" y="118"/>
                    <a:pt x="987" y="168"/>
                    <a:pt x="2190" y="168"/>
                  </a:cubicBezTo>
                  <a:cubicBezTo>
                    <a:pt x="3393" y="168"/>
                    <a:pt x="4378" y="118"/>
                    <a:pt x="4378" y="84"/>
                  </a:cubicBezTo>
                  <a:cubicBezTo>
                    <a:pt x="4378" y="34"/>
                    <a:pt x="3393" y="1"/>
                    <a:pt x="219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9" name="Google Shape;939;p34"/>
            <p:cNvSpPr/>
            <p:nvPr/>
          </p:nvSpPr>
          <p:spPr>
            <a:xfrm>
              <a:off x="5682948" y="2051728"/>
              <a:ext cx="358287" cy="4840"/>
            </a:xfrm>
            <a:custGeom>
              <a:avLst/>
              <a:gdLst/>
              <a:ahLst/>
              <a:cxnLst/>
              <a:rect l="l" t="t" r="r" b="b"/>
              <a:pathLst>
                <a:path w="11179" h="151" extrusionOk="0">
                  <a:moveTo>
                    <a:pt x="5598" y="0"/>
                  </a:moveTo>
                  <a:cubicBezTo>
                    <a:pt x="2507" y="0"/>
                    <a:pt x="0" y="34"/>
                    <a:pt x="0" y="84"/>
                  </a:cubicBezTo>
                  <a:cubicBezTo>
                    <a:pt x="0" y="117"/>
                    <a:pt x="2507" y="151"/>
                    <a:pt x="5598" y="151"/>
                  </a:cubicBezTo>
                  <a:cubicBezTo>
                    <a:pt x="8689" y="151"/>
                    <a:pt x="11178" y="117"/>
                    <a:pt x="11178" y="84"/>
                  </a:cubicBezTo>
                  <a:cubicBezTo>
                    <a:pt x="11178" y="34"/>
                    <a:pt x="8689" y="0"/>
                    <a:pt x="559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0" name="Google Shape;940;p34"/>
            <p:cNvSpPr/>
            <p:nvPr/>
          </p:nvSpPr>
          <p:spPr>
            <a:xfrm>
              <a:off x="5572632" y="2162044"/>
              <a:ext cx="358287" cy="4840"/>
            </a:xfrm>
            <a:custGeom>
              <a:avLst/>
              <a:gdLst/>
              <a:ahLst/>
              <a:cxnLst/>
              <a:rect l="l" t="t" r="r" b="b"/>
              <a:pathLst>
                <a:path w="11179" h="151" extrusionOk="0">
                  <a:moveTo>
                    <a:pt x="5581" y="0"/>
                  </a:moveTo>
                  <a:cubicBezTo>
                    <a:pt x="2490" y="0"/>
                    <a:pt x="0" y="34"/>
                    <a:pt x="0" y="67"/>
                  </a:cubicBezTo>
                  <a:cubicBezTo>
                    <a:pt x="0" y="117"/>
                    <a:pt x="2490" y="151"/>
                    <a:pt x="5581" y="151"/>
                  </a:cubicBezTo>
                  <a:cubicBezTo>
                    <a:pt x="8672" y="151"/>
                    <a:pt x="11178" y="117"/>
                    <a:pt x="11178" y="67"/>
                  </a:cubicBezTo>
                  <a:cubicBezTo>
                    <a:pt x="11178" y="34"/>
                    <a:pt x="8672" y="0"/>
                    <a:pt x="558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1" name="Google Shape;941;p34"/>
            <p:cNvSpPr/>
            <p:nvPr/>
          </p:nvSpPr>
          <p:spPr>
            <a:xfrm>
              <a:off x="5695800" y="2304475"/>
              <a:ext cx="358287" cy="5384"/>
            </a:xfrm>
            <a:custGeom>
              <a:avLst/>
              <a:gdLst/>
              <a:ahLst/>
              <a:cxnLst/>
              <a:rect l="l" t="t" r="r" b="b"/>
              <a:pathLst>
                <a:path w="11179" h="168" extrusionOk="0">
                  <a:moveTo>
                    <a:pt x="5581" y="1"/>
                  </a:moveTo>
                  <a:cubicBezTo>
                    <a:pt x="2507" y="1"/>
                    <a:pt x="0" y="34"/>
                    <a:pt x="0" y="84"/>
                  </a:cubicBezTo>
                  <a:cubicBezTo>
                    <a:pt x="0" y="118"/>
                    <a:pt x="2507" y="168"/>
                    <a:pt x="5581" y="168"/>
                  </a:cubicBezTo>
                  <a:cubicBezTo>
                    <a:pt x="8672" y="168"/>
                    <a:pt x="11178" y="118"/>
                    <a:pt x="11178" y="84"/>
                  </a:cubicBezTo>
                  <a:cubicBezTo>
                    <a:pt x="11178" y="34"/>
                    <a:pt x="8672" y="1"/>
                    <a:pt x="558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2" name="Google Shape;942;p34"/>
            <p:cNvSpPr/>
            <p:nvPr/>
          </p:nvSpPr>
          <p:spPr>
            <a:xfrm>
              <a:off x="5368602" y="2431938"/>
              <a:ext cx="358287" cy="5384"/>
            </a:xfrm>
            <a:custGeom>
              <a:avLst/>
              <a:gdLst/>
              <a:ahLst/>
              <a:cxnLst/>
              <a:rect l="l" t="t" r="r" b="b"/>
              <a:pathLst>
                <a:path w="11179" h="168" extrusionOk="0">
                  <a:moveTo>
                    <a:pt x="5581" y="0"/>
                  </a:moveTo>
                  <a:cubicBezTo>
                    <a:pt x="2507" y="0"/>
                    <a:pt x="0" y="34"/>
                    <a:pt x="0" y="84"/>
                  </a:cubicBezTo>
                  <a:cubicBezTo>
                    <a:pt x="0" y="134"/>
                    <a:pt x="2507" y="167"/>
                    <a:pt x="5581" y="167"/>
                  </a:cubicBezTo>
                  <a:cubicBezTo>
                    <a:pt x="8672" y="167"/>
                    <a:pt x="11178" y="134"/>
                    <a:pt x="11178" y="84"/>
                  </a:cubicBezTo>
                  <a:cubicBezTo>
                    <a:pt x="11178" y="34"/>
                    <a:pt x="8672" y="0"/>
                    <a:pt x="558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3" name="Google Shape;943;p34"/>
            <p:cNvSpPr/>
            <p:nvPr/>
          </p:nvSpPr>
          <p:spPr>
            <a:xfrm>
              <a:off x="5764868" y="2431938"/>
              <a:ext cx="358287" cy="5384"/>
            </a:xfrm>
            <a:custGeom>
              <a:avLst/>
              <a:gdLst/>
              <a:ahLst/>
              <a:cxnLst/>
              <a:rect l="l" t="t" r="r" b="b"/>
              <a:pathLst>
                <a:path w="11179" h="168" extrusionOk="0">
                  <a:moveTo>
                    <a:pt x="5598" y="0"/>
                  </a:moveTo>
                  <a:cubicBezTo>
                    <a:pt x="2507" y="0"/>
                    <a:pt x="1" y="34"/>
                    <a:pt x="1" y="84"/>
                  </a:cubicBezTo>
                  <a:cubicBezTo>
                    <a:pt x="1" y="134"/>
                    <a:pt x="2507" y="167"/>
                    <a:pt x="5598" y="167"/>
                  </a:cubicBezTo>
                  <a:cubicBezTo>
                    <a:pt x="8673" y="167"/>
                    <a:pt x="11179" y="134"/>
                    <a:pt x="11179" y="84"/>
                  </a:cubicBezTo>
                  <a:cubicBezTo>
                    <a:pt x="11179" y="34"/>
                    <a:pt x="8673" y="0"/>
                    <a:pt x="559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4" name="Google Shape;944;p34"/>
            <p:cNvSpPr/>
            <p:nvPr/>
          </p:nvSpPr>
          <p:spPr>
            <a:xfrm>
              <a:off x="5368602" y="2473699"/>
              <a:ext cx="358287" cy="4840"/>
            </a:xfrm>
            <a:custGeom>
              <a:avLst/>
              <a:gdLst/>
              <a:ahLst/>
              <a:cxnLst/>
              <a:rect l="l" t="t" r="r" b="b"/>
              <a:pathLst>
                <a:path w="11179" h="151" extrusionOk="0">
                  <a:moveTo>
                    <a:pt x="5581" y="1"/>
                  </a:moveTo>
                  <a:cubicBezTo>
                    <a:pt x="2490" y="1"/>
                    <a:pt x="0" y="34"/>
                    <a:pt x="0" y="67"/>
                  </a:cubicBezTo>
                  <a:cubicBezTo>
                    <a:pt x="0" y="118"/>
                    <a:pt x="2507" y="151"/>
                    <a:pt x="5581" y="151"/>
                  </a:cubicBezTo>
                  <a:cubicBezTo>
                    <a:pt x="8672" y="151"/>
                    <a:pt x="11178" y="118"/>
                    <a:pt x="11178" y="67"/>
                  </a:cubicBezTo>
                  <a:cubicBezTo>
                    <a:pt x="11178" y="34"/>
                    <a:pt x="8672" y="1"/>
                    <a:pt x="558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5" name="Google Shape;945;p34"/>
            <p:cNvSpPr/>
            <p:nvPr/>
          </p:nvSpPr>
          <p:spPr>
            <a:xfrm>
              <a:off x="5385748" y="2081695"/>
              <a:ext cx="358800" cy="4872"/>
            </a:xfrm>
            <a:custGeom>
              <a:avLst/>
              <a:gdLst/>
              <a:ahLst/>
              <a:cxnLst/>
              <a:rect l="l" t="t" r="r" b="b"/>
              <a:pathLst>
                <a:path w="11195" h="152" extrusionOk="0">
                  <a:moveTo>
                    <a:pt x="5597" y="1"/>
                  </a:moveTo>
                  <a:cubicBezTo>
                    <a:pt x="2506" y="1"/>
                    <a:pt x="0" y="34"/>
                    <a:pt x="0" y="84"/>
                  </a:cubicBezTo>
                  <a:cubicBezTo>
                    <a:pt x="0" y="118"/>
                    <a:pt x="2506" y="151"/>
                    <a:pt x="5597" y="151"/>
                  </a:cubicBezTo>
                  <a:cubicBezTo>
                    <a:pt x="8689" y="151"/>
                    <a:pt x="11195" y="118"/>
                    <a:pt x="11195" y="84"/>
                  </a:cubicBezTo>
                  <a:cubicBezTo>
                    <a:pt x="11195" y="34"/>
                    <a:pt x="8689" y="1"/>
                    <a:pt x="559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6" name="Google Shape;946;p34"/>
            <p:cNvSpPr/>
            <p:nvPr/>
          </p:nvSpPr>
          <p:spPr>
            <a:xfrm>
              <a:off x="5556575" y="2052241"/>
              <a:ext cx="92144" cy="4872"/>
            </a:xfrm>
            <a:custGeom>
              <a:avLst/>
              <a:gdLst/>
              <a:ahLst/>
              <a:cxnLst/>
              <a:rect l="l" t="t" r="r" b="b"/>
              <a:pathLst>
                <a:path w="2875" h="152" extrusionOk="0">
                  <a:moveTo>
                    <a:pt x="1437" y="1"/>
                  </a:moveTo>
                  <a:cubicBezTo>
                    <a:pt x="635" y="1"/>
                    <a:pt x="0" y="34"/>
                    <a:pt x="0" y="85"/>
                  </a:cubicBezTo>
                  <a:cubicBezTo>
                    <a:pt x="0" y="118"/>
                    <a:pt x="635" y="151"/>
                    <a:pt x="1437" y="151"/>
                  </a:cubicBezTo>
                  <a:cubicBezTo>
                    <a:pt x="2222" y="151"/>
                    <a:pt x="2874" y="118"/>
                    <a:pt x="2874" y="85"/>
                  </a:cubicBezTo>
                  <a:cubicBezTo>
                    <a:pt x="2874" y="34"/>
                    <a:pt x="2222" y="1"/>
                    <a:pt x="143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7" name="Google Shape;947;p34"/>
            <p:cNvSpPr/>
            <p:nvPr/>
          </p:nvSpPr>
          <p:spPr>
            <a:xfrm>
              <a:off x="5371262" y="2266463"/>
              <a:ext cx="92144" cy="4840"/>
            </a:xfrm>
            <a:custGeom>
              <a:avLst/>
              <a:gdLst/>
              <a:ahLst/>
              <a:cxnLst/>
              <a:rect l="l" t="t" r="r" b="b"/>
              <a:pathLst>
                <a:path w="2875" h="151" extrusionOk="0">
                  <a:moveTo>
                    <a:pt x="1438" y="0"/>
                  </a:moveTo>
                  <a:cubicBezTo>
                    <a:pt x="636" y="0"/>
                    <a:pt x="1" y="34"/>
                    <a:pt x="1" y="84"/>
                  </a:cubicBezTo>
                  <a:cubicBezTo>
                    <a:pt x="1" y="117"/>
                    <a:pt x="636" y="151"/>
                    <a:pt x="1438" y="151"/>
                  </a:cubicBezTo>
                  <a:cubicBezTo>
                    <a:pt x="2240" y="151"/>
                    <a:pt x="2875" y="117"/>
                    <a:pt x="2875" y="84"/>
                  </a:cubicBezTo>
                  <a:cubicBezTo>
                    <a:pt x="2875" y="34"/>
                    <a:pt x="2240" y="0"/>
                    <a:pt x="1438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8" name="Google Shape;948;p34"/>
            <p:cNvSpPr/>
            <p:nvPr/>
          </p:nvSpPr>
          <p:spPr>
            <a:xfrm>
              <a:off x="5369146" y="2304475"/>
              <a:ext cx="92144" cy="5384"/>
            </a:xfrm>
            <a:custGeom>
              <a:avLst/>
              <a:gdLst/>
              <a:ahLst/>
              <a:cxnLst/>
              <a:rect l="l" t="t" r="r" b="b"/>
              <a:pathLst>
                <a:path w="2875" h="168" extrusionOk="0">
                  <a:moveTo>
                    <a:pt x="1437" y="1"/>
                  </a:moveTo>
                  <a:cubicBezTo>
                    <a:pt x="635" y="1"/>
                    <a:pt x="0" y="34"/>
                    <a:pt x="0" y="84"/>
                  </a:cubicBezTo>
                  <a:cubicBezTo>
                    <a:pt x="0" y="118"/>
                    <a:pt x="635" y="168"/>
                    <a:pt x="1437" y="168"/>
                  </a:cubicBezTo>
                  <a:cubicBezTo>
                    <a:pt x="2239" y="168"/>
                    <a:pt x="2874" y="118"/>
                    <a:pt x="2874" y="84"/>
                  </a:cubicBezTo>
                  <a:cubicBezTo>
                    <a:pt x="2874" y="34"/>
                    <a:pt x="2239" y="1"/>
                    <a:pt x="143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9" name="Google Shape;949;p34"/>
            <p:cNvSpPr/>
            <p:nvPr/>
          </p:nvSpPr>
          <p:spPr>
            <a:xfrm>
              <a:off x="5263638" y="1917856"/>
              <a:ext cx="997684" cy="5384"/>
            </a:xfrm>
            <a:custGeom>
              <a:avLst/>
              <a:gdLst/>
              <a:ahLst/>
              <a:cxnLst/>
              <a:rect l="l" t="t" r="r" b="b"/>
              <a:pathLst>
                <a:path w="31129" h="168" extrusionOk="0">
                  <a:moveTo>
                    <a:pt x="15556" y="0"/>
                  </a:moveTo>
                  <a:cubicBezTo>
                    <a:pt x="6968" y="0"/>
                    <a:pt x="1" y="50"/>
                    <a:pt x="1" y="84"/>
                  </a:cubicBezTo>
                  <a:cubicBezTo>
                    <a:pt x="1" y="134"/>
                    <a:pt x="6968" y="167"/>
                    <a:pt x="15556" y="167"/>
                  </a:cubicBezTo>
                  <a:cubicBezTo>
                    <a:pt x="24161" y="167"/>
                    <a:pt x="31129" y="134"/>
                    <a:pt x="31129" y="84"/>
                  </a:cubicBezTo>
                  <a:cubicBezTo>
                    <a:pt x="31129" y="50"/>
                    <a:pt x="24161" y="0"/>
                    <a:pt x="1555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0" name="Google Shape;950;p34"/>
            <p:cNvSpPr/>
            <p:nvPr/>
          </p:nvSpPr>
          <p:spPr>
            <a:xfrm>
              <a:off x="5315046" y="1875005"/>
              <a:ext cx="27339" cy="23877"/>
            </a:xfrm>
            <a:custGeom>
              <a:avLst/>
              <a:gdLst/>
              <a:ahLst/>
              <a:cxnLst/>
              <a:rect l="l" t="t" r="r" b="b"/>
              <a:pathLst>
                <a:path w="853" h="745" extrusionOk="0">
                  <a:moveTo>
                    <a:pt x="485" y="0"/>
                  </a:moveTo>
                  <a:cubicBezTo>
                    <a:pt x="168" y="0"/>
                    <a:pt x="1" y="401"/>
                    <a:pt x="235" y="635"/>
                  </a:cubicBezTo>
                  <a:cubicBezTo>
                    <a:pt x="310" y="711"/>
                    <a:pt x="401" y="744"/>
                    <a:pt x="489" y="744"/>
                  </a:cubicBezTo>
                  <a:cubicBezTo>
                    <a:pt x="676" y="744"/>
                    <a:pt x="853" y="595"/>
                    <a:pt x="853" y="368"/>
                  </a:cubicBezTo>
                  <a:cubicBezTo>
                    <a:pt x="853" y="168"/>
                    <a:pt x="686" y="0"/>
                    <a:pt x="48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1" name="Google Shape;951;p34"/>
            <p:cNvSpPr/>
            <p:nvPr/>
          </p:nvSpPr>
          <p:spPr>
            <a:xfrm>
              <a:off x="5365909" y="1875005"/>
              <a:ext cx="27371" cy="23877"/>
            </a:xfrm>
            <a:custGeom>
              <a:avLst/>
              <a:gdLst/>
              <a:ahLst/>
              <a:cxnLst/>
              <a:rect l="l" t="t" r="r" b="b"/>
              <a:pathLst>
                <a:path w="854" h="745" extrusionOk="0">
                  <a:moveTo>
                    <a:pt x="485" y="0"/>
                  </a:moveTo>
                  <a:cubicBezTo>
                    <a:pt x="151" y="0"/>
                    <a:pt x="1" y="401"/>
                    <a:pt x="218" y="635"/>
                  </a:cubicBezTo>
                  <a:cubicBezTo>
                    <a:pt x="293" y="711"/>
                    <a:pt x="386" y="744"/>
                    <a:pt x="477" y="744"/>
                  </a:cubicBezTo>
                  <a:cubicBezTo>
                    <a:pt x="669" y="744"/>
                    <a:pt x="853" y="595"/>
                    <a:pt x="853" y="368"/>
                  </a:cubicBezTo>
                  <a:cubicBezTo>
                    <a:pt x="853" y="168"/>
                    <a:pt x="686" y="0"/>
                    <a:pt x="48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2" name="Google Shape;952;p34"/>
            <p:cNvSpPr/>
            <p:nvPr/>
          </p:nvSpPr>
          <p:spPr>
            <a:xfrm>
              <a:off x="5416260" y="1875005"/>
              <a:ext cx="27883" cy="23877"/>
            </a:xfrm>
            <a:custGeom>
              <a:avLst/>
              <a:gdLst/>
              <a:ahLst/>
              <a:cxnLst/>
              <a:rect l="l" t="t" r="r" b="b"/>
              <a:pathLst>
                <a:path w="870" h="745" extrusionOk="0">
                  <a:moveTo>
                    <a:pt x="502" y="0"/>
                  </a:moveTo>
                  <a:cubicBezTo>
                    <a:pt x="168" y="0"/>
                    <a:pt x="1" y="401"/>
                    <a:pt x="234" y="635"/>
                  </a:cubicBezTo>
                  <a:cubicBezTo>
                    <a:pt x="310" y="711"/>
                    <a:pt x="402" y="744"/>
                    <a:pt x="493" y="744"/>
                  </a:cubicBezTo>
                  <a:cubicBezTo>
                    <a:pt x="685" y="744"/>
                    <a:pt x="869" y="595"/>
                    <a:pt x="869" y="368"/>
                  </a:cubicBezTo>
                  <a:cubicBezTo>
                    <a:pt x="869" y="168"/>
                    <a:pt x="702" y="0"/>
                    <a:pt x="502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3" name="Google Shape;953;p34"/>
            <p:cNvSpPr/>
            <p:nvPr/>
          </p:nvSpPr>
          <p:spPr>
            <a:xfrm>
              <a:off x="6565990" y="1808052"/>
              <a:ext cx="1218862" cy="802244"/>
            </a:xfrm>
            <a:custGeom>
              <a:avLst/>
              <a:gdLst/>
              <a:ahLst/>
              <a:cxnLst/>
              <a:rect l="l" t="t" r="r" b="b"/>
              <a:pathLst>
                <a:path w="38030" h="25031" extrusionOk="0">
                  <a:moveTo>
                    <a:pt x="2607" y="1"/>
                  </a:moveTo>
                  <a:lnTo>
                    <a:pt x="1" y="25030"/>
                  </a:lnTo>
                  <a:lnTo>
                    <a:pt x="35139" y="25030"/>
                  </a:lnTo>
                  <a:lnTo>
                    <a:pt x="38030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4" name="Google Shape;954;p34"/>
            <p:cNvSpPr/>
            <p:nvPr/>
          </p:nvSpPr>
          <p:spPr>
            <a:xfrm>
              <a:off x="6508684" y="1808052"/>
              <a:ext cx="1218862" cy="802244"/>
            </a:xfrm>
            <a:custGeom>
              <a:avLst/>
              <a:gdLst/>
              <a:ahLst/>
              <a:cxnLst/>
              <a:rect l="l" t="t" r="r" b="b"/>
              <a:pathLst>
                <a:path w="38030" h="25031" extrusionOk="0">
                  <a:moveTo>
                    <a:pt x="2608" y="1"/>
                  </a:moveTo>
                  <a:lnTo>
                    <a:pt x="1" y="25030"/>
                  </a:lnTo>
                  <a:lnTo>
                    <a:pt x="35139" y="25030"/>
                  </a:lnTo>
                  <a:lnTo>
                    <a:pt x="3803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5" name="Google Shape;955;p34"/>
            <p:cNvSpPr/>
            <p:nvPr/>
          </p:nvSpPr>
          <p:spPr>
            <a:xfrm>
              <a:off x="6548330" y="1829494"/>
              <a:ext cx="1131012" cy="744393"/>
            </a:xfrm>
            <a:custGeom>
              <a:avLst/>
              <a:gdLst/>
              <a:ahLst/>
              <a:cxnLst/>
              <a:rect l="l" t="t" r="r" b="b"/>
              <a:pathLst>
                <a:path w="35289" h="23226" extrusionOk="0">
                  <a:moveTo>
                    <a:pt x="2406" y="0"/>
                  </a:moveTo>
                  <a:lnTo>
                    <a:pt x="0" y="23225"/>
                  </a:lnTo>
                  <a:lnTo>
                    <a:pt x="32599" y="23225"/>
                  </a:lnTo>
                  <a:lnTo>
                    <a:pt x="35289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6" name="Google Shape;956;p34"/>
            <p:cNvSpPr/>
            <p:nvPr/>
          </p:nvSpPr>
          <p:spPr>
            <a:xfrm>
              <a:off x="6660794" y="1938720"/>
              <a:ext cx="54100" cy="499660"/>
            </a:xfrm>
            <a:custGeom>
              <a:avLst/>
              <a:gdLst/>
              <a:ahLst/>
              <a:cxnLst/>
              <a:rect l="l" t="t" r="r" b="b"/>
              <a:pathLst>
                <a:path w="1688" h="15590" extrusionOk="0">
                  <a:moveTo>
                    <a:pt x="1654" y="1"/>
                  </a:moveTo>
                  <a:lnTo>
                    <a:pt x="1654" y="1"/>
                  </a:lnTo>
                  <a:cubicBezTo>
                    <a:pt x="1604" y="1"/>
                    <a:pt x="1220" y="3493"/>
                    <a:pt x="769" y="7787"/>
                  </a:cubicBezTo>
                  <a:cubicBezTo>
                    <a:pt x="318" y="12098"/>
                    <a:pt x="0" y="15590"/>
                    <a:pt x="50" y="15590"/>
                  </a:cubicBezTo>
                  <a:cubicBezTo>
                    <a:pt x="50" y="15590"/>
                    <a:pt x="51" y="15590"/>
                    <a:pt x="51" y="15590"/>
                  </a:cubicBezTo>
                  <a:cubicBezTo>
                    <a:pt x="86" y="15590"/>
                    <a:pt x="486" y="12104"/>
                    <a:pt x="919" y="7804"/>
                  </a:cubicBezTo>
                  <a:cubicBezTo>
                    <a:pt x="1370" y="3510"/>
                    <a:pt x="1688" y="17"/>
                    <a:pt x="165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7" name="Google Shape;957;p34"/>
            <p:cNvSpPr/>
            <p:nvPr/>
          </p:nvSpPr>
          <p:spPr>
            <a:xfrm>
              <a:off x="6747553" y="1961219"/>
              <a:ext cx="104964" cy="5384"/>
            </a:xfrm>
            <a:custGeom>
              <a:avLst/>
              <a:gdLst/>
              <a:ahLst/>
              <a:cxnLst/>
              <a:rect l="l" t="t" r="r" b="b"/>
              <a:pathLst>
                <a:path w="3275" h="168" extrusionOk="0">
                  <a:moveTo>
                    <a:pt x="1637" y="1"/>
                  </a:moveTo>
                  <a:cubicBezTo>
                    <a:pt x="735" y="1"/>
                    <a:pt x="0" y="34"/>
                    <a:pt x="0" y="84"/>
                  </a:cubicBezTo>
                  <a:cubicBezTo>
                    <a:pt x="0" y="117"/>
                    <a:pt x="735" y="168"/>
                    <a:pt x="1637" y="168"/>
                  </a:cubicBezTo>
                  <a:cubicBezTo>
                    <a:pt x="2540" y="168"/>
                    <a:pt x="3275" y="117"/>
                    <a:pt x="3275" y="84"/>
                  </a:cubicBezTo>
                  <a:cubicBezTo>
                    <a:pt x="3275" y="34"/>
                    <a:pt x="2540" y="1"/>
                    <a:pt x="163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8" name="Google Shape;958;p34"/>
            <p:cNvSpPr/>
            <p:nvPr/>
          </p:nvSpPr>
          <p:spPr>
            <a:xfrm>
              <a:off x="6880881" y="1961219"/>
              <a:ext cx="417740" cy="5384"/>
            </a:xfrm>
            <a:custGeom>
              <a:avLst/>
              <a:gdLst/>
              <a:ahLst/>
              <a:cxnLst/>
              <a:rect l="l" t="t" r="r" b="b"/>
              <a:pathLst>
                <a:path w="13034" h="168" extrusionOk="0">
                  <a:moveTo>
                    <a:pt x="6517" y="1"/>
                  </a:moveTo>
                  <a:cubicBezTo>
                    <a:pt x="2924" y="1"/>
                    <a:pt x="0" y="34"/>
                    <a:pt x="0" y="84"/>
                  </a:cubicBezTo>
                  <a:cubicBezTo>
                    <a:pt x="0" y="117"/>
                    <a:pt x="2924" y="168"/>
                    <a:pt x="6517" y="168"/>
                  </a:cubicBezTo>
                  <a:cubicBezTo>
                    <a:pt x="10126" y="168"/>
                    <a:pt x="13033" y="117"/>
                    <a:pt x="13033" y="84"/>
                  </a:cubicBezTo>
                  <a:cubicBezTo>
                    <a:pt x="13033" y="34"/>
                    <a:pt x="10126" y="1"/>
                    <a:pt x="651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9" name="Google Shape;959;p34"/>
            <p:cNvSpPr/>
            <p:nvPr/>
          </p:nvSpPr>
          <p:spPr>
            <a:xfrm>
              <a:off x="6735214" y="2225760"/>
              <a:ext cx="104996" cy="5384"/>
            </a:xfrm>
            <a:custGeom>
              <a:avLst/>
              <a:gdLst/>
              <a:ahLst/>
              <a:cxnLst/>
              <a:rect l="l" t="t" r="r" b="b"/>
              <a:pathLst>
                <a:path w="3276" h="168" extrusionOk="0">
                  <a:moveTo>
                    <a:pt x="1638" y="1"/>
                  </a:moveTo>
                  <a:cubicBezTo>
                    <a:pt x="736" y="1"/>
                    <a:pt x="1" y="34"/>
                    <a:pt x="1" y="84"/>
                  </a:cubicBezTo>
                  <a:cubicBezTo>
                    <a:pt x="1" y="117"/>
                    <a:pt x="736" y="168"/>
                    <a:pt x="1638" y="168"/>
                  </a:cubicBezTo>
                  <a:cubicBezTo>
                    <a:pt x="2540" y="168"/>
                    <a:pt x="3276" y="117"/>
                    <a:pt x="3276" y="84"/>
                  </a:cubicBezTo>
                  <a:cubicBezTo>
                    <a:pt x="3276" y="34"/>
                    <a:pt x="2540" y="1"/>
                    <a:pt x="163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960;p34"/>
            <p:cNvSpPr/>
            <p:nvPr/>
          </p:nvSpPr>
          <p:spPr>
            <a:xfrm>
              <a:off x="6868574" y="2225760"/>
              <a:ext cx="417708" cy="5384"/>
            </a:xfrm>
            <a:custGeom>
              <a:avLst/>
              <a:gdLst/>
              <a:ahLst/>
              <a:cxnLst/>
              <a:rect l="l" t="t" r="r" b="b"/>
              <a:pathLst>
                <a:path w="13033" h="168" extrusionOk="0">
                  <a:moveTo>
                    <a:pt x="6516" y="1"/>
                  </a:moveTo>
                  <a:cubicBezTo>
                    <a:pt x="2907" y="1"/>
                    <a:pt x="0" y="34"/>
                    <a:pt x="0" y="84"/>
                  </a:cubicBezTo>
                  <a:cubicBezTo>
                    <a:pt x="0" y="117"/>
                    <a:pt x="2924" y="168"/>
                    <a:pt x="6516" y="168"/>
                  </a:cubicBezTo>
                  <a:cubicBezTo>
                    <a:pt x="10109" y="168"/>
                    <a:pt x="13033" y="117"/>
                    <a:pt x="13033" y="84"/>
                  </a:cubicBezTo>
                  <a:cubicBezTo>
                    <a:pt x="13033" y="34"/>
                    <a:pt x="10126" y="1"/>
                    <a:pt x="651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961;p34"/>
            <p:cNvSpPr/>
            <p:nvPr/>
          </p:nvSpPr>
          <p:spPr>
            <a:xfrm>
              <a:off x="6726111" y="2347870"/>
              <a:ext cx="417740" cy="4840"/>
            </a:xfrm>
            <a:custGeom>
              <a:avLst/>
              <a:gdLst/>
              <a:ahLst/>
              <a:cxnLst/>
              <a:rect l="l" t="t" r="r" b="b"/>
              <a:pathLst>
                <a:path w="13034" h="151" extrusionOk="0">
                  <a:moveTo>
                    <a:pt x="6517" y="0"/>
                  </a:moveTo>
                  <a:cubicBezTo>
                    <a:pt x="2925" y="0"/>
                    <a:pt x="1" y="33"/>
                    <a:pt x="1" y="84"/>
                  </a:cubicBezTo>
                  <a:cubicBezTo>
                    <a:pt x="1" y="117"/>
                    <a:pt x="2925" y="150"/>
                    <a:pt x="6517" y="150"/>
                  </a:cubicBezTo>
                  <a:cubicBezTo>
                    <a:pt x="10126" y="150"/>
                    <a:pt x="13033" y="117"/>
                    <a:pt x="13033" y="84"/>
                  </a:cubicBezTo>
                  <a:cubicBezTo>
                    <a:pt x="13033" y="33"/>
                    <a:pt x="10126" y="0"/>
                    <a:pt x="651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962;p34"/>
            <p:cNvSpPr/>
            <p:nvPr/>
          </p:nvSpPr>
          <p:spPr>
            <a:xfrm>
              <a:off x="6751271" y="2036184"/>
              <a:ext cx="147302" cy="4872"/>
            </a:xfrm>
            <a:custGeom>
              <a:avLst/>
              <a:gdLst/>
              <a:ahLst/>
              <a:cxnLst/>
              <a:rect l="l" t="t" r="r" b="b"/>
              <a:pathLst>
                <a:path w="4596" h="152" extrusionOk="0">
                  <a:moveTo>
                    <a:pt x="2290" y="1"/>
                  </a:moveTo>
                  <a:cubicBezTo>
                    <a:pt x="1020" y="1"/>
                    <a:pt x="1" y="34"/>
                    <a:pt x="1" y="68"/>
                  </a:cubicBezTo>
                  <a:cubicBezTo>
                    <a:pt x="1" y="118"/>
                    <a:pt x="1020" y="151"/>
                    <a:pt x="2290" y="151"/>
                  </a:cubicBezTo>
                  <a:cubicBezTo>
                    <a:pt x="3560" y="151"/>
                    <a:pt x="4596" y="118"/>
                    <a:pt x="4596" y="68"/>
                  </a:cubicBezTo>
                  <a:cubicBezTo>
                    <a:pt x="4596" y="34"/>
                    <a:pt x="3560" y="1"/>
                    <a:pt x="2290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3" name="Google Shape;963;p34"/>
            <p:cNvSpPr/>
            <p:nvPr/>
          </p:nvSpPr>
          <p:spPr>
            <a:xfrm>
              <a:off x="6747553" y="2145443"/>
              <a:ext cx="147270" cy="4840"/>
            </a:xfrm>
            <a:custGeom>
              <a:avLst/>
              <a:gdLst/>
              <a:ahLst/>
              <a:cxnLst/>
              <a:rect l="l" t="t" r="r" b="b"/>
              <a:pathLst>
                <a:path w="4595" h="151" extrusionOk="0">
                  <a:moveTo>
                    <a:pt x="2289" y="0"/>
                  </a:moveTo>
                  <a:cubicBezTo>
                    <a:pt x="1019" y="0"/>
                    <a:pt x="0" y="34"/>
                    <a:pt x="0" y="84"/>
                  </a:cubicBezTo>
                  <a:cubicBezTo>
                    <a:pt x="0" y="117"/>
                    <a:pt x="1019" y="151"/>
                    <a:pt x="2289" y="151"/>
                  </a:cubicBezTo>
                  <a:cubicBezTo>
                    <a:pt x="3559" y="151"/>
                    <a:pt x="4595" y="117"/>
                    <a:pt x="4595" y="84"/>
                  </a:cubicBezTo>
                  <a:cubicBezTo>
                    <a:pt x="4595" y="34"/>
                    <a:pt x="3559" y="0"/>
                    <a:pt x="228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4" name="Google Shape;964;p34"/>
            <p:cNvSpPr/>
            <p:nvPr/>
          </p:nvSpPr>
          <p:spPr>
            <a:xfrm>
              <a:off x="6872324" y="2301815"/>
              <a:ext cx="147270" cy="5384"/>
            </a:xfrm>
            <a:custGeom>
              <a:avLst/>
              <a:gdLst/>
              <a:ahLst/>
              <a:cxnLst/>
              <a:rect l="l" t="t" r="r" b="b"/>
              <a:pathLst>
                <a:path w="4595" h="168" extrusionOk="0">
                  <a:moveTo>
                    <a:pt x="2289" y="0"/>
                  </a:moveTo>
                  <a:cubicBezTo>
                    <a:pt x="1019" y="0"/>
                    <a:pt x="0" y="34"/>
                    <a:pt x="0" y="84"/>
                  </a:cubicBezTo>
                  <a:cubicBezTo>
                    <a:pt x="0" y="134"/>
                    <a:pt x="1019" y="167"/>
                    <a:pt x="2289" y="167"/>
                  </a:cubicBezTo>
                  <a:cubicBezTo>
                    <a:pt x="3559" y="167"/>
                    <a:pt x="4595" y="134"/>
                    <a:pt x="4595" y="84"/>
                  </a:cubicBezTo>
                  <a:cubicBezTo>
                    <a:pt x="4595" y="34"/>
                    <a:pt x="3559" y="0"/>
                    <a:pt x="228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" name="Google Shape;965;p34"/>
            <p:cNvSpPr/>
            <p:nvPr/>
          </p:nvSpPr>
          <p:spPr>
            <a:xfrm>
              <a:off x="7058662" y="2036184"/>
              <a:ext cx="377036" cy="4872"/>
            </a:xfrm>
            <a:custGeom>
              <a:avLst/>
              <a:gdLst/>
              <a:ahLst/>
              <a:cxnLst/>
              <a:rect l="l" t="t" r="r" b="b"/>
              <a:pathLst>
                <a:path w="11764" h="152" extrusionOk="0">
                  <a:moveTo>
                    <a:pt x="5882" y="1"/>
                  </a:moveTo>
                  <a:cubicBezTo>
                    <a:pt x="2624" y="1"/>
                    <a:pt x="1" y="34"/>
                    <a:pt x="1" y="68"/>
                  </a:cubicBezTo>
                  <a:cubicBezTo>
                    <a:pt x="1" y="118"/>
                    <a:pt x="2624" y="151"/>
                    <a:pt x="5882" y="151"/>
                  </a:cubicBezTo>
                  <a:cubicBezTo>
                    <a:pt x="9124" y="151"/>
                    <a:pt x="11764" y="118"/>
                    <a:pt x="11764" y="68"/>
                  </a:cubicBezTo>
                  <a:cubicBezTo>
                    <a:pt x="11764" y="34"/>
                    <a:pt x="9124" y="1"/>
                    <a:pt x="588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" name="Google Shape;966;p34"/>
            <p:cNvSpPr/>
            <p:nvPr/>
          </p:nvSpPr>
          <p:spPr>
            <a:xfrm>
              <a:off x="6941936" y="2151853"/>
              <a:ext cx="377036" cy="4872"/>
            </a:xfrm>
            <a:custGeom>
              <a:avLst/>
              <a:gdLst/>
              <a:ahLst/>
              <a:cxnLst/>
              <a:rect l="l" t="t" r="r" b="b"/>
              <a:pathLst>
                <a:path w="11764" h="152" extrusionOk="0">
                  <a:moveTo>
                    <a:pt x="5882" y="1"/>
                  </a:moveTo>
                  <a:cubicBezTo>
                    <a:pt x="2640" y="1"/>
                    <a:pt x="0" y="34"/>
                    <a:pt x="0" y="84"/>
                  </a:cubicBezTo>
                  <a:cubicBezTo>
                    <a:pt x="0" y="118"/>
                    <a:pt x="2640" y="151"/>
                    <a:pt x="5882" y="151"/>
                  </a:cubicBezTo>
                  <a:cubicBezTo>
                    <a:pt x="9140" y="151"/>
                    <a:pt x="11763" y="118"/>
                    <a:pt x="11763" y="84"/>
                  </a:cubicBezTo>
                  <a:cubicBezTo>
                    <a:pt x="11763" y="34"/>
                    <a:pt x="9140" y="1"/>
                    <a:pt x="588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7" name="Google Shape;967;p34"/>
            <p:cNvSpPr/>
            <p:nvPr/>
          </p:nvSpPr>
          <p:spPr>
            <a:xfrm>
              <a:off x="7072059" y="2301815"/>
              <a:ext cx="377036" cy="5384"/>
            </a:xfrm>
            <a:custGeom>
              <a:avLst/>
              <a:gdLst/>
              <a:ahLst/>
              <a:cxnLst/>
              <a:rect l="l" t="t" r="r" b="b"/>
              <a:pathLst>
                <a:path w="11764" h="168" extrusionOk="0">
                  <a:moveTo>
                    <a:pt x="5882" y="0"/>
                  </a:moveTo>
                  <a:cubicBezTo>
                    <a:pt x="2624" y="0"/>
                    <a:pt x="0" y="34"/>
                    <a:pt x="0" y="84"/>
                  </a:cubicBezTo>
                  <a:cubicBezTo>
                    <a:pt x="0" y="134"/>
                    <a:pt x="2624" y="167"/>
                    <a:pt x="5882" y="167"/>
                  </a:cubicBezTo>
                  <a:cubicBezTo>
                    <a:pt x="9123" y="167"/>
                    <a:pt x="11763" y="134"/>
                    <a:pt x="11763" y="84"/>
                  </a:cubicBezTo>
                  <a:cubicBezTo>
                    <a:pt x="11763" y="34"/>
                    <a:pt x="9123" y="0"/>
                    <a:pt x="588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" name="Google Shape;968;p34"/>
            <p:cNvSpPr/>
            <p:nvPr/>
          </p:nvSpPr>
          <p:spPr>
            <a:xfrm>
              <a:off x="6727714" y="2436200"/>
              <a:ext cx="377036" cy="4872"/>
            </a:xfrm>
            <a:custGeom>
              <a:avLst/>
              <a:gdLst/>
              <a:ahLst/>
              <a:cxnLst/>
              <a:rect l="l" t="t" r="r" b="b"/>
              <a:pathLst>
                <a:path w="11764" h="152" extrusionOk="0">
                  <a:moveTo>
                    <a:pt x="5882" y="1"/>
                  </a:moveTo>
                  <a:cubicBezTo>
                    <a:pt x="2624" y="1"/>
                    <a:pt x="1" y="34"/>
                    <a:pt x="1" y="68"/>
                  </a:cubicBezTo>
                  <a:cubicBezTo>
                    <a:pt x="1" y="118"/>
                    <a:pt x="2624" y="151"/>
                    <a:pt x="5882" y="151"/>
                  </a:cubicBezTo>
                  <a:cubicBezTo>
                    <a:pt x="9124" y="151"/>
                    <a:pt x="11764" y="118"/>
                    <a:pt x="11764" y="68"/>
                  </a:cubicBezTo>
                  <a:cubicBezTo>
                    <a:pt x="11764" y="34"/>
                    <a:pt x="9124" y="1"/>
                    <a:pt x="588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9" name="Google Shape;969;p34"/>
            <p:cNvSpPr/>
            <p:nvPr/>
          </p:nvSpPr>
          <p:spPr>
            <a:xfrm>
              <a:off x="7144364" y="2436200"/>
              <a:ext cx="377004" cy="4872"/>
            </a:xfrm>
            <a:custGeom>
              <a:avLst/>
              <a:gdLst/>
              <a:ahLst/>
              <a:cxnLst/>
              <a:rect l="l" t="t" r="r" b="b"/>
              <a:pathLst>
                <a:path w="11763" h="152" extrusionOk="0">
                  <a:moveTo>
                    <a:pt x="5881" y="1"/>
                  </a:moveTo>
                  <a:cubicBezTo>
                    <a:pt x="2640" y="1"/>
                    <a:pt x="0" y="34"/>
                    <a:pt x="0" y="68"/>
                  </a:cubicBezTo>
                  <a:cubicBezTo>
                    <a:pt x="0" y="118"/>
                    <a:pt x="2640" y="151"/>
                    <a:pt x="5881" y="151"/>
                  </a:cubicBezTo>
                  <a:cubicBezTo>
                    <a:pt x="9140" y="151"/>
                    <a:pt x="11763" y="118"/>
                    <a:pt x="11763" y="68"/>
                  </a:cubicBezTo>
                  <a:cubicBezTo>
                    <a:pt x="11763" y="34"/>
                    <a:pt x="9140" y="1"/>
                    <a:pt x="588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0" name="Google Shape;970;p34"/>
            <p:cNvSpPr/>
            <p:nvPr/>
          </p:nvSpPr>
          <p:spPr>
            <a:xfrm>
              <a:off x="6727714" y="2479596"/>
              <a:ext cx="377036" cy="5384"/>
            </a:xfrm>
            <a:custGeom>
              <a:avLst/>
              <a:gdLst/>
              <a:ahLst/>
              <a:cxnLst/>
              <a:rect l="l" t="t" r="r" b="b"/>
              <a:pathLst>
                <a:path w="11764" h="168" extrusionOk="0">
                  <a:moveTo>
                    <a:pt x="5882" y="0"/>
                  </a:moveTo>
                  <a:cubicBezTo>
                    <a:pt x="2624" y="0"/>
                    <a:pt x="1" y="34"/>
                    <a:pt x="1" y="84"/>
                  </a:cubicBezTo>
                  <a:cubicBezTo>
                    <a:pt x="1" y="117"/>
                    <a:pt x="2624" y="167"/>
                    <a:pt x="5882" y="167"/>
                  </a:cubicBezTo>
                  <a:cubicBezTo>
                    <a:pt x="9124" y="167"/>
                    <a:pt x="11764" y="117"/>
                    <a:pt x="11764" y="84"/>
                  </a:cubicBezTo>
                  <a:cubicBezTo>
                    <a:pt x="11764" y="34"/>
                    <a:pt x="9124" y="0"/>
                    <a:pt x="588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1" name="Google Shape;971;p34"/>
            <p:cNvSpPr/>
            <p:nvPr/>
          </p:nvSpPr>
          <p:spPr>
            <a:xfrm>
              <a:off x="6745918" y="2067241"/>
              <a:ext cx="377036" cy="5384"/>
            </a:xfrm>
            <a:custGeom>
              <a:avLst/>
              <a:gdLst/>
              <a:ahLst/>
              <a:cxnLst/>
              <a:rect l="l" t="t" r="r" b="b"/>
              <a:pathLst>
                <a:path w="11764" h="168" extrusionOk="0">
                  <a:moveTo>
                    <a:pt x="5882" y="1"/>
                  </a:moveTo>
                  <a:cubicBezTo>
                    <a:pt x="2641" y="1"/>
                    <a:pt x="1" y="34"/>
                    <a:pt x="1" y="84"/>
                  </a:cubicBezTo>
                  <a:cubicBezTo>
                    <a:pt x="1" y="134"/>
                    <a:pt x="2641" y="168"/>
                    <a:pt x="5882" y="168"/>
                  </a:cubicBezTo>
                  <a:cubicBezTo>
                    <a:pt x="9124" y="168"/>
                    <a:pt x="11764" y="134"/>
                    <a:pt x="11764" y="84"/>
                  </a:cubicBezTo>
                  <a:cubicBezTo>
                    <a:pt x="11764" y="34"/>
                    <a:pt x="9140" y="1"/>
                    <a:pt x="588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2" name="Google Shape;972;p34"/>
            <p:cNvSpPr/>
            <p:nvPr/>
          </p:nvSpPr>
          <p:spPr>
            <a:xfrm>
              <a:off x="6925334" y="2036184"/>
              <a:ext cx="96951" cy="5384"/>
            </a:xfrm>
            <a:custGeom>
              <a:avLst/>
              <a:gdLst/>
              <a:ahLst/>
              <a:cxnLst/>
              <a:rect l="l" t="t" r="r" b="b"/>
              <a:pathLst>
                <a:path w="3025" h="168" extrusionOk="0">
                  <a:moveTo>
                    <a:pt x="1521" y="1"/>
                  </a:moveTo>
                  <a:cubicBezTo>
                    <a:pt x="685" y="1"/>
                    <a:pt x="0" y="51"/>
                    <a:pt x="0" y="84"/>
                  </a:cubicBezTo>
                  <a:cubicBezTo>
                    <a:pt x="0" y="134"/>
                    <a:pt x="685" y="168"/>
                    <a:pt x="1521" y="168"/>
                  </a:cubicBezTo>
                  <a:cubicBezTo>
                    <a:pt x="2356" y="168"/>
                    <a:pt x="3025" y="134"/>
                    <a:pt x="3025" y="84"/>
                  </a:cubicBezTo>
                  <a:cubicBezTo>
                    <a:pt x="3025" y="51"/>
                    <a:pt x="2356" y="1"/>
                    <a:pt x="152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3" name="Google Shape;973;p34"/>
            <p:cNvSpPr/>
            <p:nvPr/>
          </p:nvSpPr>
          <p:spPr>
            <a:xfrm>
              <a:off x="6730406" y="2261624"/>
              <a:ext cx="97496" cy="5416"/>
            </a:xfrm>
            <a:custGeom>
              <a:avLst/>
              <a:gdLst/>
              <a:ahLst/>
              <a:cxnLst/>
              <a:rect l="l" t="t" r="r" b="b"/>
              <a:pathLst>
                <a:path w="3042" h="169" extrusionOk="0">
                  <a:moveTo>
                    <a:pt x="1521" y="1"/>
                  </a:moveTo>
                  <a:cubicBezTo>
                    <a:pt x="685" y="1"/>
                    <a:pt x="0" y="34"/>
                    <a:pt x="0" y="85"/>
                  </a:cubicBezTo>
                  <a:cubicBezTo>
                    <a:pt x="0" y="135"/>
                    <a:pt x="685" y="168"/>
                    <a:pt x="1521" y="168"/>
                  </a:cubicBezTo>
                  <a:cubicBezTo>
                    <a:pt x="2356" y="168"/>
                    <a:pt x="3041" y="135"/>
                    <a:pt x="3041" y="85"/>
                  </a:cubicBezTo>
                  <a:cubicBezTo>
                    <a:pt x="3041" y="34"/>
                    <a:pt x="2356" y="1"/>
                    <a:pt x="152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" name="Google Shape;974;p34"/>
            <p:cNvSpPr/>
            <p:nvPr/>
          </p:nvSpPr>
          <p:spPr>
            <a:xfrm>
              <a:off x="6728259" y="2301815"/>
              <a:ext cx="96951" cy="5384"/>
            </a:xfrm>
            <a:custGeom>
              <a:avLst/>
              <a:gdLst/>
              <a:ahLst/>
              <a:cxnLst/>
              <a:rect l="l" t="t" r="r" b="b"/>
              <a:pathLst>
                <a:path w="3025" h="168" extrusionOk="0">
                  <a:moveTo>
                    <a:pt x="1521" y="0"/>
                  </a:moveTo>
                  <a:cubicBezTo>
                    <a:pt x="686" y="0"/>
                    <a:pt x="1" y="34"/>
                    <a:pt x="1" y="84"/>
                  </a:cubicBezTo>
                  <a:cubicBezTo>
                    <a:pt x="1" y="134"/>
                    <a:pt x="686" y="167"/>
                    <a:pt x="1521" y="167"/>
                  </a:cubicBezTo>
                  <a:cubicBezTo>
                    <a:pt x="2356" y="167"/>
                    <a:pt x="3025" y="134"/>
                    <a:pt x="3025" y="84"/>
                  </a:cubicBezTo>
                  <a:cubicBezTo>
                    <a:pt x="3025" y="34"/>
                    <a:pt x="2356" y="0"/>
                    <a:pt x="1521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" name="Google Shape;975;p34"/>
            <p:cNvSpPr/>
            <p:nvPr/>
          </p:nvSpPr>
          <p:spPr>
            <a:xfrm>
              <a:off x="6616885" y="1895356"/>
              <a:ext cx="1050150" cy="4840"/>
            </a:xfrm>
            <a:custGeom>
              <a:avLst/>
              <a:gdLst/>
              <a:ahLst/>
              <a:cxnLst/>
              <a:rect l="l" t="t" r="r" b="b"/>
              <a:pathLst>
                <a:path w="32766" h="151" extrusionOk="0">
                  <a:moveTo>
                    <a:pt x="16391" y="0"/>
                  </a:moveTo>
                  <a:cubicBezTo>
                    <a:pt x="7335" y="0"/>
                    <a:pt x="0" y="34"/>
                    <a:pt x="0" y="84"/>
                  </a:cubicBezTo>
                  <a:cubicBezTo>
                    <a:pt x="0" y="117"/>
                    <a:pt x="7335" y="151"/>
                    <a:pt x="16391" y="151"/>
                  </a:cubicBezTo>
                  <a:cubicBezTo>
                    <a:pt x="25431" y="151"/>
                    <a:pt x="32766" y="117"/>
                    <a:pt x="32766" y="84"/>
                  </a:cubicBezTo>
                  <a:cubicBezTo>
                    <a:pt x="32766" y="34"/>
                    <a:pt x="25431" y="0"/>
                    <a:pt x="1639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" name="Google Shape;976;p34"/>
            <p:cNvSpPr/>
            <p:nvPr/>
          </p:nvSpPr>
          <p:spPr>
            <a:xfrm>
              <a:off x="6671498" y="1849845"/>
              <a:ext cx="28941" cy="25159"/>
            </a:xfrm>
            <a:custGeom>
              <a:avLst/>
              <a:gdLst/>
              <a:ahLst/>
              <a:cxnLst/>
              <a:rect l="l" t="t" r="r" b="b"/>
              <a:pathLst>
                <a:path w="903" h="785" extrusionOk="0">
                  <a:moveTo>
                    <a:pt x="518" y="0"/>
                  </a:moveTo>
                  <a:cubicBezTo>
                    <a:pt x="167" y="0"/>
                    <a:pt x="0" y="418"/>
                    <a:pt x="234" y="668"/>
                  </a:cubicBezTo>
                  <a:cubicBezTo>
                    <a:pt x="315" y="749"/>
                    <a:pt x="412" y="784"/>
                    <a:pt x="507" y="784"/>
                  </a:cubicBezTo>
                  <a:cubicBezTo>
                    <a:pt x="709" y="784"/>
                    <a:pt x="903" y="623"/>
                    <a:pt x="903" y="384"/>
                  </a:cubicBezTo>
                  <a:cubicBezTo>
                    <a:pt x="903" y="184"/>
                    <a:pt x="736" y="0"/>
                    <a:pt x="51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7" name="Google Shape;977;p34"/>
            <p:cNvSpPr/>
            <p:nvPr/>
          </p:nvSpPr>
          <p:spPr>
            <a:xfrm>
              <a:off x="6724509" y="1849845"/>
              <a:ext cx="29486" cy="25159"/>
            </a:xfrm>
            <a:custGeom>
              <a:avLst/>
              <a:gdLst/>
              <a:ahLst/>
              <a:cxnLst/>
              <a:rect l="l" t="t" r="r" b="b"/>
              <a:pathLst>
                <a:path w="920" h="785" extrusionOk="0">
                  <a:moveTo>
                    <a:pt x="519" y="0"/>
                  </a:moveTo>
                  <a:cubicBezTo>
                    <a:pt x="184" y="0"/>
                    <a:pt x="1" y="418"/>
                    <a:pt x="251" y="668"/>
                  </a:cubicBezTo>
                  <a:cubicBezTo>
                    <a:pt x="331" y="749"/>
                    <a:pt x="429" y="784"/>
                    <a:pt x="524" y="784"/>
                  </a:cubicBezTo>
                  <a:cubicBezTo>
                    <a:pt x="726" y="784"/>
                    <a:pt x="920" y="623"/>
                    <a:pt x="920" y="384"/>
                  </a:cubicBezTo>
                  <a:cubicBezTo>
                    <a:pt x="920" y="184"/>
                    <a:pt x="736" y="0"/>
                    <a:pt x="519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8" name="Google Shape;978;p34"/>
            <p:cNvSpPr/>
            <p:nvPr/>
          </p:nvSpPr>
          <p:spPr>
            <a:xfrm>
              <a:off x="6778064" y="1849845"/>
              <a:ext cx="28941" cy="25159"/>
            </a:xfrm>
            <a:custGeom>
              <a:avLst/>
              <a:gdLst/>
              <a:ahLst/>
              <a:cxnLst/>
              <a:rect l="l" t="t" r="r" b="b"/>
              <a:pathLst>
                <a:path w="903" h="785" extrusionOk="0">
                  <a:moveTo>
                    <a:pt x="518" y="0"/>
                  </a:moveTo>
                  <a:cubicBezTo>
                    <a:pt x="184" y="0"/>
                    <a:pt x="0" y="418"/>
                    <a:pt x="251" y="668"/>
                  </a:cubicBezTo>
                  <a:cubicBezTo>
                    <a:pt x="326" y="749"/>
                    <a:pt x="420" y="784"/>
                    <a:pt x="512" y="784"/>
                  </a:cubicBezTo>
                  <a:cubicBezTo>
                    <a:pt x="709" y="784"/>
                    <a:pt x="903" y="623"/>
                    <a:pt x="903" y="384"/>
                  </a:cubicBezTo>
                  <a:cubicBezTo>
                    <a:pt x="903" y="184"/>
                    <a:pt x="736" y="0"/>
                    <a:pt x="51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9" name="Google Shape;979;p34"/>
            <p:cNvSpPr/>
            <p:nvPr/>
          </p:nvSpPr>
          <p:spPr>
            <a:xfrm>
              <a:off x="5974250" y="894499"/>
              <a:ext cx="1164248" cy="766348"/>
            </a:xfrm>
            <a:custGeom>
              <a:avLst/>
              <a:gdLst/>
              <a:ahLst/>
              <a:cxnLst/>
              <a:rect l="l" t="t" r="r" b="b"/>
              <a:pathLst>
                <a:path w="36326" h="23911" extrusionOk="0">
                  <a:moveTo>
                    <a:pt x="2490" y="0"/>
                  </a:moveTo>
                  <a:lnTo>
                    <a:pt x="1" y="23910"/>
                  </a:lnTo>
                  <a:lnTo>
                    <a:pt x="33552" y="23910"/>
                  </a:lnTo>
                  <a:lnTo>
                    <a:pt x="36325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0" name="Google Shape;980;p34"/>
            <p:cNvSpPr/>
            <p:nvPr/>
          </p:nvSpPr>
          <p:spPr>
            <a:xfrm>
              <a:off x="5919637" y="894499"/>
              <a:ext cx="1164216" cy="766348"/>
            </a:xfrm>
            <a:custGeom>
              <a:avLst/>
              <a:gdLst/>
              <a:ahLst/>
              <a:cxnLst/>
              <a:rect l="l" t="t" r="r" b="b"/>
              <a:pathLst>
                <a:path w="36325" h="23911" extrusionOk="0">
                  <a:moveTo>
                    <a:pt x="2490" y="0"/>
                  </a:moveTo>
                  <a:lnTo>
                    <a:pt x="1" y="23910"/>
                  </a:lnTo>
                  <a:lnTo>
                    <a:pt x="33551" y="23910"/>
                  </a:lnTo>
                  <a:lnTo>
                    <a:pt x="3632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1" name="Google Shape;981;p34"/>
            <p:cNvSpPr/>
            <p:nvPr/>
          </p:nvSpPr>
          <p:spPr>
            <a:xfrm>
              <a:off x="5957136" y="915364"/>
              <a:ext cx="1080149" cy="710645"/>
            </a:xfrm>
            <a:custGeom>
              <a:avLst/>
              <a:gdLst/>
              <a:ahLst/>
              <a:cxnLst/>
              <a:rect l="l" t="t" r="r" b="b"/>
              <a:pathLst>
                <a:path w="33702" h="22173" extrusionOk="0">
                  <a:moveTo>
                    <a:pt x="2306" y="1"/>
                  </a:moveTo>
                  <a:lnTo>
                    <a:pt x="0" y="22173"/>
                  </a:lnTo>
                  <a:lnTo>
                    <a:pt x="31145" y="22173"/>
                  </a:lnTo>
                  <a:lnTo>
                    <a:pt x="33701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" name="Google Shape;982;p34"/>
            <p:cNvSpPr/>
            <p:nvPr/>
          </p:nvSpPr>
          <p:spPr>
            <a:xfrm>
              <a:off x="6065849" y="1029430"/>
              <a:ext cx="51953" cy="477192"/>
            </a:xfrm>
            <a:custGeom>
              <a:avLst/>
              <a:gdLst/>
              <a:ahLst/>
              <a:cxnLst/>
              <a:rect l="l" t="t" r="r" b="b"/>
              <a:pathLst>
                <a:path w="1621" h="14889" extrusionOk="0">
                  <a:moveTo>
                    <a:pt x="1571" y="1"/>
                  </a:moveTo>
                  <a:cubicBezTo>
                    <a:pt x="1537" y="1"/>
                    <a:pt x="1153" y="3326"/>
                    <a:pt x="735" y="7436"/>
                  </a:cubicBezTo>
                  <a:cubicBezTo>
                    <a:pt x="301" y="11546"/>
                    <a:pt x="0" y="14888"/>
                    <a:pt x="33" y="14888"/>
                  </a:cubicBezTo>
                  <a:cubicBezTo>
                    <a:pt x="34" y="14888"/>
                    <a:pt x="34" y="14888"/>
                    <a:pt x="34" y="14888"/>
                  </a:cubicBezTo>
                  <a:cubicBezTo>
                    <a:pt x="85" y="14888"/>
                    <a:pt x="469" y="11553"/>
                    <a:pt x="886" y="7453"/>
                  </a:cubicBezTo>
                  <a:cubicBezTo>
                    <a:pt x="1303" y="3342"/>
                    <a:pt x="1621" y="17"/>
                    <a:pt x="157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" name="Google Shape;983;p34"/>
            <p:cNvSpPr/>
            <p:nvPr/>
          </p:nvSpPr>
          <p:spPr>
            <a:xfrm>
              <a:off x="6148314" y="1050871"/>
              <a:ext cx="100701" cy="4840"/>
            </a:xfrm>
            <a:custGeom>
              <a:avLst/>
              <a:gdLst/>
              <a:ahLst/>
              <a:cxnLst/>
              <a:rect l="l" t="t" r="r" b="b"/>
              <a:pathLst>
                <a:path w="3142" h="151" extrusionOk="0">
                  <a:moveTo>
                    <a:pt x="1571" y="0"/>
                  </a:moveTo>
                  <a:cubicBezTo>
                    <a:pt x="702" y="0"/>
                    <a:pt x="0" y="33"/>
                    <a:pt x="0" y="84"/>
                  </a:cubicBezTo>
                  <a:cubicBezTo>
                    <a:pt x="0" y="117"/>
                    <a:pt x="702" y="150"/>
                    <a:pt x="1571" y="150"/>
                  </a:cubicBezTo>
                  <a:cubicBezTo>
                    <a:pt x="2440" y="150"/>
                    <a:pt x="3141" y="117"/>
                    <a:pt x="3141" y="84"/>
                  </a:cubicBezTo>
                  <a:cubicBezTo>
                    <a:pt x="3141" y="33"/>
                    <a:pt x="2440" y="0"/>
                    <a:pt x="157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" name="Google Shape;984;p34"/>
            <p:cNvSpPr/>
            <p:nvPr/>
          </p:nvSpPr>
          <p:spPr>
            <a:xfrm>
              <a:off x="6275745" y="1050871"/>
              <a:ext cx="398990" cy="4840"/>
            </a:xfrm>
            <a:custGeom>
              <a:avLst/>
              <a:gdLst/>
              <a:ahLst/>
              <a:cxnLst/>
              <a:rect l="l" t="t" r="r" b="b"/>
              <a:pathLst>
                <a:path w="12449" h="151" extrusionOk="0">
                  <a:moveTo>
                    <a:pt x="6233" y="0"/>
                  </a:moveTo>
                  <a:cubicBezTo>
                    <a:pt x="2791" y="0"/>
                    <a:pt x="1" y="33"/>
                    <a:pt x="1" y="84"/>
                  </a:cubicBezTo>
                  <a:cubicBezTo>
                    <a:pt x="1" y="117"/>
                    <a:pt x="2791" y="150"/>
                    <a:pt x="6233" y="150"/>
                  </a:cubicBezTo>
                  <a:cubicBezTo>
                    <a:pt x="9675" y="150"/>
                    <a:pt x="12449" y="117"/>
                    <a:pt x="12449" y="84"/>
                  </a:cubicBezTo>
                  <a:cubicBezTo>
                    <a:pt x="12449" y="33"/>
                    <a:pt x="9675" y="0"/>
                    <a:pt x="623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" name="Google Shape;985;p34"/>
            <p:cNvSpPr/>
            <p:nvPr/>
          </p:nvSpPr>
          <p:spPr>
            <a:xfrm>
              <a:off x="6136520" y="1303617"/>
              <a:ext cx="100701" cy="4840"/>
            </a:xfrm>
            <a:custGeom>
              <a:avLst/>
              <a:gdLst/>
              <a:ahLst/>
              <a:cxnLst/>
              <a:rect l="l" t="t" r="r" b="b"/>
              <a:pathLst>
                <a:path w="3142" h="151" extrusionOk="0">
                  <a:moveTo>
                    <a:pt x="1571" y="0"/>
                  </a:moveTo>
                  <a:cubicBezTo>
                    <a:pt x="702" y="0"/>
                    <a:pt x="1" y="34"/>
                    <a:pt x="1" y="67"/>
                  </a:cubicBezTo>
                  <a:cubicBezTo>
                    <a:pt x="1" y="117"/>
                    <a:pt x="702" y="151"/>
                    <a:pt x="1571" y="151"/>
                  </a:cubicBezTo>
                  <a:cubicBezTo>
                    <a:pt x="2440" y="151"/>
                    <a:pt x="3142" y="117"/>
                    <a:pt x="3142" y="67"/>
                  </a:cubicBezTo>
                  <a:cubicBezTo>
                    <a:pt x="3142" y="34"/>
                    <a:pt x="2440" y="0"/>
                    <a:pt x="157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" name="Google Shape;986;p34"/>
            <p:cNvSpPr/>
            <p:nvPr/>
          </p:nvSpPr>
          <p:spPr>
            <a:xfrm>
              <a:off x="6263982" y="1303617"/>
              <a:ext cx="398990" cy="4840"/>
            </a:xfrm>
            <a:custGeom>
              <a:avLst/>
              <a:gdLst/>
              <a:ahLst/>
              <a:cxnLst/>
              <a:rect l="l" t="t" r="r" b="b"/>
              <a:pathLst>
                <a:path w="12449" h="151" extrusionOk="0">
                  <a:moveTo>
                    <a:pt x="6232" y="0"/>
                  </a:moveTo>
                  <a:cubicBezTo>
                    <a:pt x="2791" y="0"/>
                    <a:pt x="0" y="34"/>
                    <a:pt x="0" y="67"/>
                  </a:cubicBezTo>
                  <a:cubicBezTo>
                    <a:pt x="0" y="117"/>
                    <a:pt x="2791" y="151"/>
                    <a:pt x="6232" y="151"/>
                  </a:cubicBezTo>
                  <a:cubicBezTo>
                    <a:pt x="9674" y="151"/>
                    <a:pt x="12448" y="117"/>
                    <a:pt x="12448" y="67"/>
                  </a:cubicBezTo>
                  <a:cubicBezTo>
                    <a:pt x="12448" y="34"/>
                    <a:pt x="9674" y="0"/>
                    <a:pt x="623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" name="Google Shape;987;p34"/>
            <p:cNvSpPr/>
            <p:nvPr/>
          </p:nvSpPr>
          <p:spPr>
            <a:xfrm>
              <a:off x="6127962" y="1419831"/>
              <a:ext cx="399503" cy="5384"/>
            </a:xfrm>
            <a:custGeom>
              <a:avLst/>
              <a:gdLst/>
              <a:ahLst/>
              <a:cxnLst/>
              <a:rect l="l" t="t" r="r" b="b"/>
              <a:pathLst>
                <a:path w="12465" h="168" extrusionOk="0">
                  <a:moveTo>
                    <a:pt x="6232" y="0"/>
                  </a:moveTo>
                  <a:cubicBezTo>
                    <a:pt x="2791" y="0"/>
                    <a:pt x="0" y="34"/>
                    <a:pt x="0" y="84"/>
                  </a:cubicBezTo>
                  <a:cubicBezTo>
                    <a:pt x="0" y="117"/>
                    <a:pt x="2791" y="167"/>
                    <a:pt x="6232" y="167"/>
                  </a:cubicBezTo>
                  <a:cubicBezTo>
                    <a:pt x="9674" y="167"/>
                    <a:pt x="12465" y="117"/>
                    <a:pt x="12465" y="84"/>
                  </a:cubicBezTo>
                  <a:cubicBezTo>
                    <a:pt x="12465" y="34"/>
                    <a:pt x="9674" y="0"/>
                    <a:pt x="623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8" name="Google Shape;988;p34"/>
            <p:cNvSpPr/>
            <p:nvPr/>
          </p:nvSpPr>
          <p:spPr>
            <a:xfrm>
              <a:off x="6152064" y="1122086"/>
              <a:ext cx="140860" cy="5384"/>
            </a:xfrm>
            <a:custGeom>
              <a:avLst/>
              <a:gdLst/>
              <a:ahLst/>
              <a:cxnLst/>
              <a:rect l="l" t="t" r="r" b="b"/>
              <a:pathLst>
                <a:path w="4395" h="168" extrusionOk="0">
                  <a:moveTo>
                    <a:pt x="2189" y="0"/>
                  </a:moveTo>
                  <a:cubicBezTo>
                    <a:pt x="986" y="0"/>
                    <a:pt x="0" y="34"/>
                    <a:pt x="0" y="84"/>
                  </a:cubicBezTo>
                  <a:cubicBezTo>
                    <a:pt x="0" y="134"/>
                    <a:pt x="986" y="167"/>
                    <a:pt x="2189" y="167"/>
                  </a:cubicBezTo>
                  <a:cubicBezTo>
                    <a:pt x="3409" y="167"/>
                    <a:pt x="4394" y="134"/>
                    <a:pt x="4394" y="84"/>
                  </a:cubicBezTo>
                  <a:cubicBezTo>
                    <a:pt x="4394" y="34"/>
                    <a:pt x="3409" y="0"/>
                    <a:pt x="218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" name="Google Shape;989;p34"/>
            <p:cNvSpPr/>
            <p:nvPr/>
          </p:nvSpPr>
          <p:spPr>
            <a:xfrm>
              <a:off x="6148314" y="1226505"/>
              <a:ext cx="140860" cy="5384"/>
            </a:xfrm>
            <a:custGeom>
              <a:avLst/>
              <a:gdLst/>
              <a:ahLst/>
              <a:cxnLst/>
              <a:rect l="l" t="t" r="r" b="b"/>
              <a:pathLst>
                <a:path w="4395" h="168" extrusionOk="0">
                  <a:moveTo>
                    <a:pt x="2206" y="0"/>
                  </a:moveTo>
                  <a:cubicBezTo>
                    <a:pt x="986" y="0"/>
                    <a:pt x="0" y="51"/>
                    <a:pt x="0" y="84"/>
                  </a:cubicBezTo>
                  <a:cubicBezTo>
                    <a:pt x="0" y="134"/>
                    <a:pt x="986" y="168"/>
                    <a:pt x="2206" y="168"/>
                  </a:cubicBezTo>
                  <a:cubicBezTo>
                    <a:pt x="3409" y="168"/>
                    <a:pt x="4394" y="134"/>
                    <a:pt x="4394" y="84"/>
                  </a:cubicBezTo>
                  <a:cubicBezTo>
                    <a:pt x="4394" y="51"/>
                    <a:pt x="3409" y="0"/>
                    <a:pt x="220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" name="Google Shape;990;p34"/>
            <p:cNvSpPr/>
            <p:nvPr/>
          </p:nvSpPr>
          <p:spPr>
            <a:xfrm>
              <a:off x="6267732" y="1375922"/>
              <a:ext cx="140860" cy="5384"/>
            </a:xfrm>
            <a:custGeom>
              <a:avLst/>
              <a:gdLst/>
              <a:ahLst/>
              <a:cxnLst/>
              <a:rect l="l" t="t" r="r" b="b"/>
              <a:pathLst>
                <a:path w="4395" h="168" extrusionOk="0">
                  <a:moveTo>
                    <a:pt x="2189" y="0"/>
                  </a:moveTo>
                  <a:cubicBezTo>
                    <a:pt x="986" y="0"/>
                    <a:pt x="0" y="50"/>
                    <a:pt x="0" y="84"/>
                  </a:cubicBezTo>
                  <a:cubicBezTo>
                    <a:pt x="0" y="134"/>
                    <a:pt x="986" y="167"/>
                    <a:pt x="2189" y="167"/>
                  </a:cubicBezTo>
                  <a:cubicBezTo>
                    <a:pt x="3409" y="167"/>
                    <a:pt x="4394" y="134"/>
                    <a:pt x="4394" y="84"/>
                  </a:cubicBezTo>
                  <a:cubicBezTo>
                    <a:pt x="4394" y="50"/>
                    <a:pt x="3409" y="0"/>
                    <a:pt x="218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" name="Google Shape;991;p34"/>
            <p:cNvSpPr/>
            <p:nvPr/>
          </p:nvSpPr>
          <p:spPr>
            <a:xfrm>
              <a:off x="6445514" y="1122086"/>
              <a:ext cx="359889" cy="5384"/>
            </a:xfrm>
            <a:custGeom>
              <a:avLst/>
              <a:gdLst/>
              <a:ahLst/>
              <a:cxnLst/>
              <a:rect l="l" t="t" r="r" b="b"/>
              <a:pathLst>
                <a:path w="11229" h="168" extrusionOk="0">
                  <a:moveTo>
                    <a:pt x="5614" y="0"/>
                  </a:moveTo>
                  <a:cubicBezTo>
                    <a:pt x="2523" y="0"/>
                    <a:pt x="0" y="34"/>
                    <a:pt x="0" y="84"/>
                  </a:cubicBezTo>
                  <a:cubicBezTo>
                    <a:pt x="0" y="134"/>
                    <a:pt x="2523" y="167"/>
                    <a:pt x="5614" y="167"/>
                  </a:cubicBezTo>
                  <a:cubicBezTo>
                    <a:pt x="8722" y="167"/>
                    <a:pt x="11229" y="134"/>
                    <a:pt x="11229" y="84"/>
                  </a:cubicBezTo>
                  <a:cubicBezTo>
                    <a:pt x="11229" y="34"/>
                    <a:pt x="8722" y="0"/>
                    <a:pt x="561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" name="Google Shape;992;p34"/>
            <p:cNvSpPr/>
            <p:nvPr/>
          </p:nvSpPr>
          <p:spPr>
            <a:xfrm>
              <a:off x="6334653" y="1232915"/>
              <a:ext cx="359889" cy="4872"/>
            </a:xfrm>
            <a:custGeom>
              <a:avLst/>
              <a:gdLst/>
              <a:ahLst/>
              <a:cxnLst/>
              <a:rect l="l" t="t" r="r" b="b"/>
              <a:pathLst>
                <a:path w="11229" h="152" extrusionOk="0">
                  <a:moveTo>
                    <a:pt x="5615" y="1"/>
                  </a:moveTo>
                  <a:cubicBezTo>
                    <a:pt x="2507" y="1"/>
                    <a:pt x="1" y="34"/>
                    <a:pt x="1" y="84"/>
                  </a:cubicBezTo>
                  <a:cubicBezTo>
                    <a:pt x="1" y="118"/>
                    <a:pt x="2507" y="151"/>
                    <a:pt x="5615" y="151"/>
                  </a:cubicBezTo>
                  <a:cubicBezTo>
                    <a:pt x="8706" y="151"/>
                    <a:pt x="11229" y="118"/>
                    <a:pt x="11229" y="84"/>
                  </a:cubicBezTo>
                  <a:cubicBezTo>
                    <a:pt x="11229" y="34"/>
                    <a:pt x="8706" y="1"/>
                    <a:pt x="561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" name="Google Shape;993;p34"/>
            <p:cNvSpPr/>
            <p:nvPr/>
          </p:nvSpPr>
          <p:spPr>
            <a:xfrm>
              <a:off x="6458366" y="1375922"/>
              <a:ext cx="359889" cy="5384"/>
            </a:xfrm>
            <a:custGeom>
              <a:avLst/>
              <a:gdLst/>
              <a:ahLst/>
              <a:cxnLst/>
              <a:rect l="l" t="t" r="r" b="b"/>
              <a:pathLst>
                <a:path w="11229" h="168" extrusionOk="0">
                  <a:moveTo>
                    <a:pt x="5614" y="0"/>
                  </a:moveTo>
                  <a:cubicBezTo>
                    <a:pt x="2507" y="0"/>
                    <a:pt x="0" y="50"/>
                    <a:pt x="0" y="84"/>
                  </a:cubicBezTo>
                  <a:cubicBezTo>
                    <a:pt x="0" y="134"/>
                    <a:pt x="2507" y="167"/>
                    <a:pt x="5614" y="167"/>
                  </a:cubicBezTo>
                  <a:cubicBezTo>
                    <a:pt x="8722" y="167"/>
                    <a:pt x="11229" y="134"/>
                    <a:pt x="11229" y="84"/>
                  </a:cubicBezTo>
                  <a:cubicBezTo>
                    <a:pt x="11229" y="50"/>
                    <a:pt x="8722" y="0"/>
                    <a:pt x="561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" name="Google Shape;994;p34"/>
            <p:cNvSpPr/>
            <p:nvPr/>
          </p:nvSpPr>
          <p:spPr>
            <a:xfrm>
              <a:off x="6129565" y="1504443"/>
              <a:ext cx="359889" cy="4840"/>
            </a:xfrm>
            <a:custGeom>
              <a:avLst/>
              <a:gdLst/>
              <a:ahLst/>
              <a:cxnLst/>
              <a:rect l="l" t="t" r="r" b="b"/>
              <a:pathLst>
                <a:path w="11229" h="151" extrusionOk="0">
                  <a:moveTo>
                    <a:pt x="5614" y="0"/>
                  </a:moveTo>
                  <a:cubicBezTo>
                    <a:pt x="2523" y="0"/>
                    <a:pt x="0" y="34"/>
                    <a:pt x="0" y="67"/>
                  </a:cubicBezTo>
                  <a:cubicBezTo>
                    <a:pt x="0" y="117"/>
                    <a:pt x="2523" y="151"/>
                    <a:pt x="5614" y="151"/>
                  </a:cubicBezTo>
                  <a:cubicBezTo>
                    <a:pt x="8722" y="151"/>
                    <a:pt x="11228" y="117"/>
                    <a:pt x="11228" y="67"/>
                  </a:cubicBezTo>
                  <a:cubicBezTo>
                    <a:pt x="11228" y="34"/>
                    <a:pt x="8722" y="0"/>
                    <a:pt x="561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" name="Google Shape;995;p34"/>
            <p:cNvSpPr/>
            <p:nvPr/>
          </p:nvSpPr>
          <p:spPr>
            <a:xfrm>
              <a:off x="6527978" y="1504443"/>
              <a:ext cx="359889" cy="4840"/>
            </a:xfrm>
            <a:custGeom>
              <a:avLst/>
              <a:gdLst/>
              <a:ahLst/>
              <a:cxnLst/>
              <a:rect l="l" t="t" r="r" b="b"/>
              <a:pathLst>
                <a:path w="11229" h="151" extrusionOk="0">
                  <a:moveTo>
                    <a:pt x="5615" y="0"/>
                  </a:moveTo>
                  <a:cubicBezTo>
                    <a:pt x="2507" y="0"/>
                    <a:pt x="1" y="34"/>
                    <a:pt x="1" y="67"/>
                  </a:cubicBezTo>
                  <a:cubicBezTo>
                    <a:pt x="1" y="117"/>
                    <a:pt x="2507" y="151"/>
                    <a:pt x="5615" y="151"/>
                  </a:cubicBezTo>
                  <a:cubicBezTo>
                    <a:pt x="8706" y="151"/>
                    <a:pt x="11229" y="117"/>
                    <a:pt x="11229" y="67"/>
                  </a:cubicBezTo>
                  <a:cubicBezTo>
                    <a:pt x="11229" y="34"/>
                    <a:pt x="8706" y="0"/>
                    <a:pt x="561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" name="Google Shape;996;p34"/>
            <p:cNvSpPr/>
            <p:nvPr/>
          </p:nvSpPr>
          <p:spPr>
            <a:xfrm>
              <a:off x="6129565" y="1545659"/>
              <a:ext cx="359889" cy="5384"/>
            </a:xfrm>
            <a:custGeom>
              <a:avLst/>
              <a:gdLst/>
              <a:ahLst/>
              <a:cxnLst/>
              <a:rect l="l" t="t" r="r" b="b"/>
              <a:pathLst>
                <a:path w="11229" h="168" extrusionOk="0">
                  <a:moveTo>
                    <a:pt x="5614" y="1"/>
                  </a:moveTo>
                  <a:cubicBezTo>
                    <a:pt x="2507" y="1"/>
                    <a:pt x="0" y="51"/>
                    <a:pt x="0" y="84"/>
                  </a:cubicBezTo>
                  <a:cubicBezTo>
                    <a:pt x="0" y="134"/>
                    <a:pt x="2523" y="168"/>
                    <a:pt x="5614" y="168"/>
                  </a:cubicBezTo>
                  <a:cubicBezTo>
                    <a:pt x="8722" y="168"/>
                    <a:pt x="11228" y="134"/>
                    <a:pt x="11228" y="84"/>
                  </a:cubicBezTo>
                  <a:cubicBezTo>
                    <a:pt x="11228" y="51"/>
                    <a:pt x="8722" y="1"/>
                    <a:pt x="561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" name="Google Shape;997;p34"/>
            <p:cNvSpPr/>
            <p:nvPr/>
          </p:nvSpPr>
          <p:spPr>
            <a:xfrm>
              <a:off x="6147224" y="1152053"/>
              <a:ext cx="359889" cy="5416"/>
            </a:xfrm>
            <a:custGeom>
              <a:avLst/>
              <a:gdLst/>
              <a:ahLst/>
              <a:cxnLst/>
              <a:rect l="l" t="t" r="r" b="b"/>
              <a:pathLst>
                <a:path w="11229" h="169" extrusionOk="0">
                  <a:moveTo>
                    <a:pt x="5615" y="1"/>
                  </a:moveTo>
                  <a:cubicBezTo>
                    <a:pt x="2507" y="1"/>
                    <a:pt x="1" y="34"/>
                    <a:pt x="1" y="84"/>
                  </a:cubicBezTo>
                  <a:cubicBezTo>
                    <a:pt x="1" y="135"/>
                    <a:pt x="2507" y="168"/>
                    <a:pt x="5615" y="168"/>
                  </a:cubicBezTo>
                  <a:cubicBezTo>
                    <a:pt x="8706" y="168"/>
                    <a:pt x="11229" y="135"/>
                    <a:pt x="11229" y="84"/>
                  </a:cubicBezTo>
                  <a:cubicBezTo>
                    <a:pt x="11229" y="34"/>
                    <a:pt x="8723" y="1"/>
                    <a:pt x="561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" name="Google Shape;998;p34"/>
            <p:cNvSpPr/>
            <p:nvPr/>
          </p:nvSpPr>
          <p:spPr>
            <a:xfrm>
              <a:off x="6318596" y="1122599"/>
              <a:ext cx="92689" cy="4872"/>
            </a:xfrm>
            <a:custGeom>
              <a:avLst/>
              <a:gdLst/>
              <a:ahLst/>
              <a:cxnLst/>
              <a:rect l="l" t="t" r="r" b="b"/>
              <a:pathLst>
                <a:path w="2892" h="152" extrusionOk="0">
                  <a:moveTo>
                    <a:pt x="1437" y="1"/>
                  </a:moveTo>
                  <a:cubicBezTo>
                    <a:pt x="635" y="1"/>
                    <a:pt x="0" y="34"/>
                    <a:pt x="0" y="85"/>
                  </a:cubicBezTo>
                  <a:cubicBezTo>
                    <a:pt x="0" y="118"/>
                    <a:pt x="635" y="151"/>
                    <a:pt x="1437" y="151"/>
                  </a:cubicBezTo>
                  <a:cubicBezTo>
                    <a:pt x="2239" y="151"/>
                    <a:pt x="2891" y="118"/>
                    <a:pt x="2891" y="85"/>
                  </a:cubicBezTo>
                  <a:cubicBezTo>
                    <a:pt x="2891" y="34"/>
                    <a:pt x="2239" y="1"/>
                    <a:pt x="143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" name="Google Shape;999;p34"/>
            <p:cNvSpPr/>
            <p:nvPr/>
          </p:nvSpPr>
          <p:spPr>
            <a:xfrm>
              <a:off x="6132225" y="1337879"/>
              <a:ext cx="93233" cy="4872"/>
            </a:xfrm>
            <a:custGeom>
              <a:avLst/>
              <a:gdLst/>
              <a:ahLst/>
              <a:cxnLst/>
              <a:rect l="l" t="t" r="r" b="b"/>
              <a:pathLst>
                <a:path w="2909" h="152" extrusionOk="0">
                  <a:moveTo>
                    <a:pt x="1455" y="1"/>
                  </a:moveTo>
                  <a:cubicBezTo>
                    <a:pt x="653" y="1"/>
                    <a:pt x="1" y="34"/>
                    <a:pt x="1" y="84"/>
                  </a:cubicBezTo>
                  <a:cubicBezTo>
                    <a:pt x="1" y="118"/>
                    <a:pt x="653" y="151"/>
                    <a:pt x="1455" y="151"/>
                  </a:cubicBezTo>
                  <a:cubicBezTo>
                    <a:pt x="2257" y="151"/>
                    <a:pt x="2908" y="118"/>
                    <a:pt x="2908" y="84"/>
                  </a:cubicBezTo>
                  <a:cubicBezTo>
                    <a:pt x="2908" y="34"/>
                    <a:pt x="2257" y="1"/>
                    <a:pt x="1455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" name="Google Shape;1000;p34"/>
            <p:cNvSpPr/>
            <p:nvPr/>
          </p:nvSpPr>
          <p:spPr>
            <a:xfrm>
              <a:off x="6130110" y="1375922"/>
              <a:ext cx="92657" cy="5384"/>
            </a:xfrm>
            <a:custGeom>
              <a:avLst/>
              <a:gdLst/>
              <a:ahLst/>
              <a:cxnLst/>
              <a:rect l="l" t="t" r="r" b="b"/>
              <a:pathLst>
                <a:path w="2891" h="168" extrusionOk="0">
                  <a:moveTo>
                    <a:pt x="1454" y="0"/>
                  </a:moveTo>
                  <a:cubicBezTo>
                    <a:pt x="652" y="0"/>
                    <a:pt x="0" y="50"/>
                    <a:pt x="0" y="84"/>
                  </a:cubicBezTo>
                  <a:cubicBezTo>
                    <a:pt x="0" y="134"/>
                    <a:pt x="652" y="167"/>
                    <a:pt x="1454" y="167"/>
                  </a:cubicBezTo>
                  <a:cubicBezTo>
                    <a:pt x="2256" y="167"/>
                    <a:pt x="2891" y="134"/>
                    <a:pt x="2891" y="84"/>
                  </a:cubicBezTo>
                  <a:cubicBezTo>
                    <a:pt x="2891" y="50"/>
                    <a:pt x="2256" y="0"/>
                    <a:pt x="145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" name="Google Shape;1001;p34"/>
            <p:cNvSpPr/>
            <p:nvPr/>
          </p:nvSpPr>
          <p:spPr>
            <a:xfrm>
              <a:off x="6024056" y="987668"/>
              <a:ext cx="1002524" cy="5384"/>
            </a:xfrm>
            <a:custGeom>
              <a:avLst/>
              <a:gdLst/>
              <a:ahLst/>
              <a:cxnLst/>
              <a:rect l="l" t="t" r="r" b="b"/>
              <a:pathLst>
                <a:path w="31280" h="168" extrusionOk="0">
                  <a:moveTo>
                    <a:pt x="15640" y="0"/>
                  </a:moveTo>
                  <a:cubicBezTo>
                    <a:pt x="7002" y="0"/>
                    <a:pt x="1" y="51"/>
                    <a:pt x="1" y="84"/>
                  </a:cubicBezTo>
                  <a:cubicBezTo>
                    <a:pt x="1" y="134"/>
                    <a:pt x="7002" y="168"/>
                    <a:pt x="15640" y="168"/>
                  </a:cubicBezTo>
                  <a:cubicBezTo>
                    <a:pt x="24278" y="168"/>
                    <a:pt x="31279" y="134"/>
                    <a:pt x="31279" y="84"/>
                  </a:cubicBezTo>
                  <a:cubicBezTo>
                    <a:pt x="31279" y="51"/>
                    <a:pt x="24278" y="0"/>
                    <a:pt x="1564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" name="Google Shape;1002;p34"/>
            <p:cNvSpPr/>
            <p:nvPr/>
          </p:nvSpPr>
          <p:spPr>
            <a:xfrm>
              <a:off x="6076009" y="944818"/>
              <a:ext cx="27883" cy="23877"/>
            </a:xfrm>
            <a:custGeom>
              <a:avLst/>
              <a:gdLst/>
              <a:ahLst/>
              <a:cxnLst/>
              <a:rect l="l" t="t" r="r" b="b"/>
              <a:pathLst>
                <a:path w="870" h="745" extrusionOk="0">
                  <a:moveTo>
                    <a:pt x="485" y="1"/>
                  </a:moveTo>
                  <a:cubicBezTo>
                    <a:pt x="168" y="1"/>
                    <a:pt x="0" y="402"/>
                    <a:pt x="234" y="636"/>
                  </a:cubicBezTo>
                  <a:cubicBezTo>
                    <a:pt x="310" y="711"/>
                    <a:pt x="401" y="745"/>
                    <a:pt x="490" y="745"/>
                  </a:cubicBezTo>
                  <a:cubicBezTo>
                    <a:pt x="678" y="745"/>
                    <a:pt x="858" y="595"/>
                    <a:pt x="869" y="368"/>
                  </a:cubicBezTo>
                  <a:cubicBezTo>
                    <a:pt x="853" y="168"/>
                    <a:pt x="702" y="1"/>
                    <a:pt x="48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" name="Google Shape;1003;p34"/>
            <p:cNvSpPr/>
            <p:nvPr/>
          </p:nvSpPr>
          <p:spPr>
            <a:xfrm>
              <a:off x="6126873" y="944818"/>
              <a:ext cx="27883" cy="23877"/>
            </a:xfrm>
            <a:custGeom>
              <a:avLst/>
              <a:gdLst/>
              <a:ahLst/>
              <a:cxnLst/>
              <a:rect l="l" t="t" r="r" b="b"/>
              <a:pathLst>
                <a:path w="870" h="745" extrusionOk="0">
                  <a:moveTo>
                    <a:pt x="502" y="1"/>
                  </a:moveTo>
                  <a:cubicBezTo>
                    <a:pt x="168" y="1"/>
                    <a:pt x="1" y="402"/>
                    <a:pt x="235" y="636"/>
                  </a:cubicBezTo>
                  <a:cubicBezTo>
                    <a:pt x="310" y="711"/>
                    <a:pt x="403" y="745"/>
                    <a:pt x="494" y="745"/>
                  </a:cubicBezTo>
                  <a:cubicBezTo>
                    <a:pt x="685" y="745"/>
                    <a:pt x="870" y="595"/>
                    <a:pt x="870" y="368"/>
                  </a:cubicBezTo>
                  <a:cubicBezTo>
                    <a:pt x="870" y="168"/>
                    <a:pt x="703" y="1"/>
                    <a:pt x="502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" name="Google Shape;1004;p34"/>
            <p:cNvSpPr/>
            <p:nvPr/>
          </p:nvSpPr>
          <p:spPr>
            <a:xfrm>
              <a:off x="6177768" y="944818"/>
              <a:ext cx="27851" cy="23877"/>
            </a:xfrm>
            <a:custGeom>
              <a:avLst/>
              <a:gdLst/>
              <a:ahLst/>
              <a:cxnLst/>
              <a:rect l="l" t="t" r="r" b="b"/>
              <a:pathLst>
                <a:path w="869" h="745" extrusionOk="0">
                  <a:moveTo>
                    <a:pt x="501" y="1"/>
                  </a:moveTo>
                  <a:cubicBezTo>
                    <a:pt x="167" y="1"/>
                    <a:pt x="0" y="402"/>
                    <a:pt x="234" y="636"/>
                  </a:cubicBezTo>
                  <a:cubicBezTo>
                    <a:pt x="309" y="711"/>
                    <a:pt x="402" y="745"/>
                    <a:pt x="493" y="745"/>
                  </a:cubicBezTo>
                  <a:cubicBezTo>
                    <a:pt x="685" y="745"/>
                    <a:pt x="869" y="595"/>
                    <a:pt x="869" y="368"/>
                  </a:cubicBezTo>
                  <a:cubicBezTo>
                    <a:pt x="869" y="168"/>
                    <a:pt x="702" y="1"/>
                    <a:pt x="50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" name="Google Shape;1005;p34"/>
            <p:cNvSpPr/>
            <p:nvPr/>
          </p:nvSpPr>
          <p:spPr>
            <a:xfrm>
              <a:off x="5144220" y="4554160"/>
              <a:ext cx="84099" cy="114611"/>
            </a:xfrm>
            <a:custGeom>
              <a:avLst/>
              <a:gdLst/>
              <a:ahLst/>
              <a:cxnLst/>
              <a:rect l="l" t="t" r="r" b="b"/>
              <a:pathLst>
                <a:path w="2624" h="3576" extrusionOk="0">
                  <a:moveTo>
                    <a:pt x="1" y="0"/>
                  </a:moveTo>
                  <a:lnTo>
                    <a:pt x="1" y="3576"/>
                  </a:lnTo>
                  <a:lnTo>
                    <a:pt x="2624" y="3576"/>
                  </a:lnTo>
                  <a:lnTo>
                    <a:pt x="2624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" name="Google Shape;1006;p34"/>
            <p:cNvSpPr/>
            <p:nvPr/>
          </p:nvSpPr>
          <p:spPr>
            <a:xfrm>
              <a:off x="5677051" y="3184856"/>
              <a:ext cx="743336" cy="35896"/>
            </a:xfrm>
            <a:custGeom>
              <a:avLst/>
              <a:gdLst/>
              <a:ahLst/>
              <a:cxnLst/>
              <a:rect l="l" t="t" r="r" b="b"/>
              <a:pathLst>
                <a:path w="23193" h="1120" extrusionOk="0">
                  <a:moveTo>
                    <a:pt x="1" y="0"/>
                  </a:moveTo>
                  <a:lnTo>
                    <a:pt x="1" y="1120"/>
                  </a:lnTo>
                  <a:lnTo>
                    <a:pt x="23192" y="1120"/>
                  </a:lnTo>
                  <a:lnTo>
                    <a:pt x="23192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" name="Google Shape;1007;p34"/>
            <p:cNvSpPr/>
            <p:nvPr/>
          </p:nvSpPr>
          <p:spPr>
            <a:xfrm>
              <a:off x="5968385" y="2698081"/>
              <a:ext cx="706895" cy="522671"/>
            </a:xfrm>
            <a:custGeom>
              <a:avLst/>
              <a:gdLst/>
              <a:ahLst/>
              <a:cxnLst/>
              <a:rect l="l" t="t" r="r" b="b"/>
              <a:pathLst>
                <a:path w="22056" h="16308" extrusionOk="0">
                  <a:moveTo>
                    <a:pt x="3943" y="0"/>
                  </a:moveTo>
                  <a:lnTo>
                    <a:pt x="0" y="16308"/>
                  </a:lnTo>
                  <a:lnTo>
                    <a:pt x="17694" y="16308"/>
                  </a:lnTo>
                  <a:lnTo>
                    <a:pt x="22055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" name="Google Shape;1008;p34"/>
            <p:cNvSpPr/>
            <p:nvPr/>
          </p:nvSpPr>
          <p:spPr>
            <a:xfrm>
              <a:off x="6003192" y="2722727"/>
              <a:ext cx="639430" cy="458411"/>
            </a:xfrm>
            <a:custGeom>
              <a:avLst/>
              <a:gdLst/>
              <a:ahLst/>
              <a:cxnLst/>
              <a:rect l="l" t="t" r="r" b="b"/>
              <a:pathLst>
                <a:path w="19951" h="14303" extrusionOk="0">
                  <a:moveTo>
                    <a:pt x="3693" y="0"/>
                  </a:moveTo>
                  <a:lnTo>
                    <a:pt x="0" y="14303"/>
                  </a:lnTo>
                  <a:lnTo>
                    <a:pt x="16174" y="14303"/>
                  </a:lnTo>
                  <a:lnTo>
                    <a:pt x="19950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" name="Google Shape;1009;p34"/>
            <p:cNvSpPr/>
            <p:nvPr/>
          </p:nvSpPr>
          <p:spPr>
            <a:xfrm>
              <a:off x="6102258" y="2811057"/>
              <a:ext cx="380241" cy="130187"/>
            </a:xfrm>
            <a:custGeom>
              <a:avLst/>
              <a:gdLst/>
              <a:ahLst/>
              <a:cxnLst/>
              <a:rect l="l" t="t" r="r" b="b"/>
              <a:pathLst>
                <a:path w="11864" h="4062" extrusionOk="0">
                  <a:moveTo>
                    <a:pt x="1003" y="1"/>
                  </a:moveTo>
                  <a:lnTo>
                    <a:pt x="0" y="4061"/>
                  </a:lnTo>
                  <a:lnTo>
                    <a:pt x="10727" y="4061"/>
                  </a:lnTo>
                  <a:lnTo>
                    <a:pt x="1186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" name="Google Shape;1010;p34"/>
            <p:cNvSpPr/>
            <p:nvPr/>
          </p:nvSpPr>
          <p:spPr>
            <a:xfrm>
              <a:off x="6140814" y="2791795"/>
              <a:ext cx="269380" cy="4840"/>
            </a:xfrm>
            <a:custGeom>
              <a:avLst/>
              <a:gdLst/>
              <a:ahLst/>
              <a:cxnLst/>
              <a:rect l="l" t="t" r="r" b="b"/>
              <a:pathLst>
                <a:path w="8405" h="151" extrusionOk="0">
                  <a:moveTo>
                    <a:pt x="4194" y="0"/>
                  </a:moveTo>
                  <a:cubicBezTo>
                    <a:pt x="1872" y="0"/>
                    <a:pt x="0" y="34"/>
                    <a:pt x="0" y="67"/>
                  </a:cubicBezTo>
                  <a:cubicBezTo>
                    <a:pt x="0" y="117"/>
                    <a:pt x="1872" y="151"/>
                    <a:pt x="4194" y="151"/>
                  </a:cubicBezTo>
                  <a:cubicBezTo>
                    <a:pt x="6517" y="151"/>
                    <a:pt x="8405" y="117"/>
                    <a:pt x="8405" y="67"/>
                  </a:cubicBezTo>
                  <a:cubicBezTo>
                    <a:pt x="8405" y="34"/>
                    <a:pt x="6517" y="0"/>
                    <a:pt x="419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" name="Google Shape;1011;p34"/>
            <p:cNvSpPr/>
            <p:nvPr/>
          </p:nvSpPr>
          <p:spPr>
            <a:xfrm>
              <a:off x="6144564" y="2833556"/>
              <a:ext cx="108714" cy="5384"/>
            </a:xfrm>
            <a:custGeom>
              <a:avLst/>
              <a:gdLst/>
              <a:ahLst/>
              <a:cxnLst/>
              <a:rect l="l" t="t" r="r" b="b"/>
              <a:pathLst>
                <a:path w="3392" h="168" extrusionOk="0">
                  <a:moveTo>
                    <a:pt x="1704" y="1"/>
                  </a:moveTo>
                  <a:cubicBezTo>
                    <a:pt x="769" y="1"/>
                    <a:pt x="0" y="34"/>
                    <a:pt x="0" y="84"/>
                  </a:cubicBezTo>
                  <a:cubicBezTo>
                    <a:pt x="0" y="118"/>
                    <a:pt x="769" y="168"/>
                    <a:pt x="1704" y="168"/>
                  </a:cubicBezTo>
                  <a:cubicBezTo>
                    <a:pt x="2640" y="168"/>
                    <a:pt x="3392" y="118"/>
                    <a:pt x="3392" y="84"/>
                  </a:cubicBezTo>
                  <a:cubicBezTo>
                    <a:pt x="3392" y="34"/>
                    <a:pt x="2640" y="1"/>
                    <a:pt x="17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" name="Google Shape;1012;p34"/>
            <p:cNvSpPr/>
            <p:nvPr/>
          </p:nvSpPr>
          <p:spPr>
            <a:xfrm>
              <a:off x="6269848" y="2831409"/>
              <a:ext cx="70734" cy="5384"/>
            </a:xfrm>
            <a:custGeom>
              <a:avLst/>
              <a:gdLst/>
              <a:ahLst/>
              <a:cxnLst/>
              <a:rect l="l" t="t" r="r" b="b"/>
              <a:pathLst>
                <a:path w="2207" h="168" extrusionOk="0">
                  <a:moveTo>
                    <a:pt x="1104" y="1"/>
                  </a:moveTo>
                  <a:cubicBezTo>
                    <a:pt x="486" y="1"/>
                    <a:pt x="1" y="34"/>
                    <a:pt x="1" y="84"/>
                  </a:cubicBezTo>
                  <a:cubicBezTo>
                    <a:pt x="1" y="135"/>
                    <a:pt x="486" y="168"/>
                    <a:pt x="1104" y="168"/>
                  </a:cubicBezTo>
                  <a:cubicBezTo>
                    <a:pt x="1705" y="168"/>
                    <a:pt x="2207" y="135"/>
                    <a:pt x="2207" y="84"/>
                  </a:cubicBezTo>
                  <a:cubicBezTo>
                    <a:pt x="2207" y="34"/>
                    <a:pt x="1705" y="1"/>
                    <a:pt x="11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" name="Google Shape;1013;p34"/>
            <p:cNvSpPr/>
            <p:nvPr/>
          </p:nvSpPr>
          <p:spPr>
            <a:xfrm>
              <a:off x="6141872" y="2857113"/>
              <a:ext cx="296719" cy="5384"/>
            </a:xfrm>
            <a:custGeom>
              <a:avLst/>
              <a:gdLst/>
              <a:ahLst/>
              <a:cxnLst/>
              <a:rect l="l" t="t" r="r" b="b"/>
              <a:pathLst>
                <a:path w="9258" h="168" extrusionOk="0">
                  <a:moveTo>
                    <a:pt x="4629" y="1"/>
                  </a:moveTo>
                  <a:cubicBezTo>
                    <a:pt x="2072" y="1"/>
                    <a:pt x="1" y="34"/>
                    <a:pt x="1" y="84"/>
                  </a:cubicBezTo>
                  <a:cubicBezTo>
                    <a:pt x="1" y="118"/>
                    <a:pt x="2072" y="168"/>
                    <a:pt x="4629" y="168"/>
                  </a:cubicBezTo>
                  <a:cubicBezTo>
                    <a:pt x="7185" y="168"/>
                    <a:pt x="9257" y="118"/>
                    <a:pt x="9257" y="84"/>
                  </a:cubicBezTo>
                  <a:cubicBezTo>
                    <a:pt x="9257" y="34"/>
                    <a:pt x="7185" y="1"/>
                    <a:pt x="4629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" name="Google Shape;1014;p34"/>
            <p:cNvSpPr/>
            <p:nvPr/>
          </p:nvSpPr>
          <p:spPr>
            <a:xfrm>
              <a:off x="6135462" y="2878554"/>
              <a:ext cx="96406" cy="5384"/>
            </a:xfrm>
            <a:custGeom>
              <a:avLst/>
              <a:gdLst/>
              <a:ahLst/>
              <a:cxnLst/>
              <a:rect l="l" t="t" r="r" b="b"/>
              <a:pathLst>
                <a:path w="3008" h="168" extrusionOk="0">
                  <a:moveTo>
                    <a:pt x="1504" y="0"/>
                  </a:moveTo>
                  <a:cubicBezTo>
                    <a:pt x="668" y="0"/>
                    <a:pt x="0" y="34"/>
                    <a:pt x="0" y="84"/>
                  </a:cubicBezTo>
                  <a:cubicBezTo>
                    <a:pt x="0" y="134"/>
                    <a:pt x="668" y="167"/>
                    <a:pt x="1504" y="167"/>
                  </a:cubicBezTo>
                  <a:cubicBezTo>
                    <a:pt x="2339" y="167"/>
                    <a:pt x="3008" y="134"/>
                    <a:pt x="3008" y="84"/>
                  </a:cubicBezTo>
                  <a:cubicBezTo>
                    <a:pt x="3008" y="34"/>
                    <a:pt x="2339" y="0"/>
                    <a:pt x="150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" name="Google Shape;1015;p34"/>
            <p:cNvSpPr/>
            <p:nvPr/>
          </p:nvSpPr>
          <p:spPr>
            <a:xfrm>
              <a:off x="6136520" y="2909611"/>
              <a:ext cx="275822" cy="4840"/>
            </a:xfrm>
            <a:custGeom>
              <a:avLst/>
              <a:gdLst/>
              <a:ahLst/>
              <a:cxnLst/>
              <a:rect l="l" t="t" r="r" b="b"/>
              <a:pathLst>
                <a:path w="8606" h="151" extrusionOk="0">
                  <a:moveTo>
                    <a:pt x="4295" y="0"/>
                  </a:moveTo>
                  <a:cubicBezTo>
                    <a:pt x="1922" y="0"/>
                    <a:pt x="1" y="34"/>
                    <a:pt x="1" y="67"/>
                  </a:cubicBezTo>
                  <a:cubicBezTo>
                    <a:pt x="1" y="117"/>
                    <a:pt x="1922" y="151"/>
                    <a:pt x="4295" y="151"/>
                  </a:cubicBezTo>
                  <a:cubicBezTo>
                    <a:pt x="6667" y="151"/>
                    <a:pt x="8605" y="117"/>
                    <a:pt x="8605" y="67"/>
                  </a:cubicBezTo>
                  <a:cubicBezTo>
                    <a:pt x="8605" y="34"/>
                    <a:pt x="6667" y="0"/>
                    <a:pt x="429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" name="Google Shape;1016;p34"/>
            <p:cNvSpPr/>
            <p:nvPr/>
          </p:nvSpPr>
          <p:spPr>
            <a:xfrm>
              <a:off x="6102771" y="2976018"/>
              <a:ext cx="106598" cy="4840"/>
            </a:xfrm>
            <a:custGeom>
              <a:avLst/>
              <a:gdLst/>
              <a:ahLst/>
              <a:cxnLst/>
              <a:rect l="l" t="t" r="r" b="b"/>
              <a:pathLst>
                <a:path w="3326" h="151" extrusionOk="0">
                  <a:moveTo>
                    <a:pt x="1655" y="0"/>
                  </a:moveTo>
                  <a:cubicBezTo>
                    <a:pt x="736" y="0"/>
                    <a:pt x="1" y="34"/>
                    <a:pt x="1" y="84"/>
                  </a:cubicBezTo>
                  <a:cubicBezTo>
                    <a:pt x="1" y="117"/>
                    <a:pt x="736" y="151"/>
                    <a:pt x="1655" y="151"/>
                  </a:cubicBezTo>
                  <a:cubicBezTo>
                    <a:pt x="2574" y="151"/>
                    <a:pt x="3326" y="117"/>
                    <a:pt x="3326" y="84"/>
                  </a:cubicBezTo>
                  <a:cubicBezTo>
                    <a:pt x="3326" y="34"/>
                    <a:pt x="2574" y="0"/>
                    <a:pt x="165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" name="Google Shape;1017;p34"/>
            <p:cNvSpPr/>
            <p:nvPr/>
          </p:nvSpPr>
          <p:spPr>
            <a:xfrm>
              <a:off x="6227542" y="2976018"/>
              <a:ext cx="72882" cy="5384"/>
            </a:xfrm>
            <a:custGeom>
              <a:avLst/>
              <a:gdLst/>
              <a:ahLst/>
              <a:cxnLst/>
              <a:rect l="l" t="t" r="r" b="b"/>
              <a:pathLst>
                <a:path w="2274" h="168" extrusionOk="0">
                  <a:moveTo>
                    <a:pt x="1137" y="0"/>
                  </a:moveTo>
                  <a:cubicBezTo>
                    <a:pt x="519" y="0"/>
                    <a:pt x="1" y="34"/>
                    <a:pt x="1" y="67"/>
                  </a:cubicBezTo>
                  <a:cubicBezTo>
                    <a:pt x="1" y="117"/>
                    <a:pt x="519" y="151"/>
                    <a:pt x="1137" y="167"/>
                  </a:cubicBezTo>
                  <a:cubicBezTo>
                    <a:pt x="1772" y="167"/>
                    <a:pt x="2273" y="134"/>
                    <a:pt x="2273" y="84"/>
                  </a:cubicBezTo>
                  <a:cubicBezTo>
                    <a:pt x="2273" y="50"/>
                    <a:pt x="1772" y="17"/>
                    <a:pt x="113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" name="Google Shape;1018;p34"/>
            <p:cNvSpPr/>
            <p:nvPr/>
          </p:nvSpPr>
          <p:spPr>
            <a:xfrm>
              <a:off x="6320743" y="2973871"/>
              <a:ext cx="31089" cy="5384"/>
            </a:xfrm>
            <a:custGeom>
              <a:avLst/>
              <a:gdLst/>
              <a:ahLst/>
              <a:cxnLst/>
              <a:rect l="l" t="t" r="r" b="b"/>
              <a:pathLst>
                <a:path w="970" h="168" extrusionOk="0">
                  <a:moveTo>
                    <a:pt x="485" y="0"/>
                  </a:moveTo>
                  <a:cubicBezTo>
                    <a:pt x="217" y="0"/>
                    <a:pt x="0" y="34"/>
                    <a:pt x="0" y="84"/>
                  </a:cubicBezTo>
                  <a:cubicBezTo>
                    <a:pt x="0" y="134"/>
                    <a:pt x="217" y="167"/>
                    <a:pt x="485" y="167"/>
                  </a:cubicBezTo>
                  <a:cubicBezTo>
                    <a:pt x="752" y="167"/>
                    <a:pt x="969" y="134"/>
                    <a:pt x="969" y="84"/>
                  </a:cubicBezTo>
                  <a:cubicBezTo>
                    <a:pt x="969" y="34"/>
                    <a:pt x="752" y="0"/>
                    <a:pt x="48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" name="Google Shape;1019;p34"/>
            <p:cNvSpPr/>
            <p:nvPr/>
          </p:nvSpPr>
          <p:spPr>
            <a:xfrm>
              <a:off x="6104918" y="3002780"/>
              <a:ext cx="33781" cy="4840"/>
            </a:xfrm>
            <a:custGeom>
              <a:avLst/>
              <a:gdLst/>
              <a:ahLst/>
              <a:cxnLst/>
              <a:rect l="l" t="t" r="r" b="b"/>
              <a:pathLst>
                <a:path w="1054" h="151" extrusionOk="0">
                  <a:moveTo>
                    <a:pt x="519" y="1"/>
                  </a:moveTo>
                  <a:cubicBezTo>
                    <a:pt x="235" y="1"/>
                    <a:pt x="1" y="34"/>
                    <a:pt x="1" y="84"/>
                  </a:cubicBezTo>
                  <a:cubicBezTo>
                    <a:pt x="1" y="118"/>
                    <a:pt x="235" y="151"/>
                    <a:pt x="519" y="151"/>
                  </a:cubicBezTo>
                  <a:cubicBezTo>
                    <a:pt x="819" y="151"/>
                    <a:pt x="1053" y="118"/>
                    <a:pt x="1053" y="84"/>
                  </a:cubicBezTo>
                  <a:cubicBezTo>
                    <a:pt x="1053" y="34"/>
                    <a:pt x="819" y="1"/>
                    <a:pt x="519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" name="Google Shape;1020;p34"/>
            <p:cNvSpPr/>
            <p:nvPr/>
          </p:nvSpPr>
          <p:spPr>
            <a:xfrm>
              <a:off x="6159019" y="3002780"/>
              <a:ext cx="80894" cy="4840"/>
            </a:xfrm>
            <a:custGeom>
              <a:avLst/>
              <a:gdLst/>
              <a:ahLst/>
              <a:cxnLst/>
              <a:rect l="l" t="t" r="r" b="b"/>
              <a:pathLst>
                <a:path w="2524" h="151" extrusionOk="0">
                  <a:moveTo>
                    <a:pt x="1270" y="1"/>
                  </a:moveTo>
                  <a:cubicBezTo>
                    <a:pt x="568" y="1"/>
                    <a:pt x="0" y="34"/>
                    <a:pt x="0" y="84"/>
                  </a:cubicBezTo>
                  <a:cubicBezTo>
                    <a:pt x="0" y="118"/>
                    <a:pt x="568" y="151"/>
                    <a:pt x="1270" y="151"/>
                  </a:cubicBezTo>
                  <a:cubicBezTo>
                    <a:pt x="1955" y="151"/>
                    <a:pt x="2523" y="118"/>
                    <a:pt x="2523" y="84"/>
                  </a:cubicBezTo>
                  <a:cubicBezTo>
                    <a:pt x="2523" y="34"/>
                    <a:pt x="1955" y="1"/>
                    <a:pt x="127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" name="Google Shape;1021;p34"/>
            <p:cNvSpPr/>
            <p:nvPr/>
          </p:nvSpPr>
          <p:spPr>
            <a:xfrm>
              <a:off x="6265585" y="2999575"/>
              <a:ext cx="216370" cy="4840"/>
            </a:xfrm>
            <a:custGeom>
              <a:avLst/>
              <a:gdLst/>
              <a:ahLst/>
              <a:cxnLst/>
              <a:rect l="l" t="t" r="r" b="b"/>
              <a:pathLst>
                <a:path w="6751" h="151" extrusionOk="0">
                  <a:moveTo>
                    <a:pt x="3375" y="0"/>
                  </a:moveTo>
                  <a:cubicBezTo>
                    <a:pt x="1504" y="0"/>
                    <a:pt x="0" y="34"/>
                    <a:pt x="0" y="84"/>
                  </a:cubicBezTo>
                  <a:cubicBezTo>
                    <a:pt x="0" y="117"/>
                    <a:pt x="1504" y="151"/>
                    <a:pt x="3375" y="151"/>
                  </a:cubicBezTo>
                  <a:cubicBezTo>
                    <a:pt x="5230" y="151"/>
                    <a:pt x="6751" y="117"/>
                    <a:pt x="6751" y="84"/>
                  </a:cubicBezTo>
                  <a:cubicBezTo>
                    <a:pt x="6751" y="34"/>
                    <a:pt x="5230" y="0"/>
                    <a:pt x="3375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" name="Google Shape;1022;p34"/>
            <p:cNvSpPr/>
            <p:nvPr/>
          </p:nvSpPr>
          <p:spPr>
            <a:xfrm>
              <a:off x="6098508" y="3030087"/>
              <a:ext cx="34838" cy="5384"/>
            </a:xfrm>
            <a:custGeom>
              <a:avLst/>
              <a:gdLst/>
              <a:ahLst/>
              <a:cxnLst/>
              <a:rect l="l" t="t" r="r" b="b"/>
              <a:pathLst>
                <a:path w="1087" h="168" extrusionOk="0">
                  <a:moveTo>
                    <a:pt x="552" y="1"/>
                  </a:moveTo>
                  <a:cubicBezTo>
                    <a:pt x="251" y="1"/>
                    <a:pt x="0" y="34"/>
                    <a:pt x="0" y="84"/>
                  </a:cubicBezTo>
                  <a:cubicBezTo>
                    <a:pt x="0" y="134"/>
                    <a:pt x="251" y="168"/>
                    <a:pt x="552" y="168"/>
                  </a:cubicBezTo>
                  <a:cubicBezTo>
                    <a:pt x="852" y="168"/>
                    <a:pt x="1086" y="134"/>
                    <a:pt x="1086" y="84"/>
                  </a:cubicBezTo>
                  <a:cubicBezTo>
                    <a:pt x="1086" y="34"/>
                    <a:pt x="852" y="1"/>
                    <a:pt x="55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3" name="Google Shape;1023;p34"/>
            <p:cNvSpPr/>
            <p:nvPr/>
          </p:nvSpPr>
          <p:spPr>
            <a:xfrm>
              <a:off x="6144564" y="3029029"/>
              <a:ext cx="42338" cy="5384"/>
            </a:xfrm>
            <a:custGeom>
              <a:avLst/>
              <a:gdLst/>
              <a:ahLst/>
              <a:cxnLst/>
              <a:rect l="l" t="t" r="r" b="b"/>
              <a:pathLst>
                <a:path w="1321" h="168" extrusionOk="0">
                  <a:moveTo>
                    <a:pt x="669" y="0"/>
                  </a:moveTo>
                  <a:cubicBezTo>
                    <a:pt x="301" y="0"/>
                    <a:pt x="0" y="50"/>
                    <a:pt x="0" y="84"/>
                  </a:cubicBezTo>
                  <a:cubicBezTo>
                    <a:pt x="0" y="134"/>
                    <a:pt x="301" y="167"/>
                    <a:pt x="669" y="167"/>
                  </a:cubicBezTo>
                  <a:cubicBezTo>
                    <a:pt x="1019" y="167"/>
                    <a:pt x="1320" y="134"/>
                    <a:pt x="1320" y="84"/>
                  </a:cubicBezTo>
                  <a:cubicBezTo>
                    <a:pt x="1320" y="50"/>
                    <a:pt x="1019" y="0"/>
                    <a:pt x="66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4" name="Google Shape;1024;p34"/>
            <p:cNvSpPr/>
            <p:nvPr/>
          </p:nvSpPr>
          <p:spPr>
            <a:xfrm>
              <a:off x="6209337" y="3027427"/>
              <a:ext cx="136052" cy="4840"/>
            </a:xfrm>
            <a:custGeom>
              <a:avLst/>
              <a:gdLst/>
              <a:ahLst/>
              <a:cxnLst/>
              <a:rect l="l" t="t" r="r" b="b"/>
              <a:pathLst>
                <a:path w="4245" h="151" extrusionOk="0">
                  <a:moveTo>
                    <a:pt x="2123" y="0"/>
                  </a:moveTo>
                  <a:cubicBezTo>
                    <a:pt x="953" y="0"/>
                    <a:pt x="1" y="34"/>
                    <a:pt x="1" y="67"/>
                  </a:cubicBezTo>
                  <a:cubicBezTo>
                    <a:pt x="1" y="117"/>
                    <a:pt x="953" y="151"/>
                    <a:pt x="2123" y="151"/>
                  </a:cubicBezTo>
                  <a:cubicBezTo>
                    <a:pt x="3292" y="151"/>
                    <a:pt x="4245" y="117"/>
                    <a:pt x="4245" y="67"/>
                  </a:cubicBezTo>
                  <a:cubicBezTo>
                    <a:pt x="4245" y="34"/>
                    <a:pt x="3292" y="0"/>
                    <a:pt x="2123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5" name="Google Shape;1025;p34"/>
            <p:cNvSpPr/>
            <p:nvPr/>
          </p:nvSpPr>
          <p:spPr>
            <a:xfrm>
              <a:off x="6096361" y="3075598"/>
              <a:ext cx="164961" cy="4872"/>
            </a:xfrm>
            <a:custGeom>
              <a:avLst/>
              <a:gdLst/>
              <a:ahLst/>
              <a:cxnLst/>
              <a:rect l="l" t="t" r="r" b="b"/>
              <a:pathLst>
                <a:path w="5147" h="152" extrusionOk="0">
                  <a:moveTo>
                    <a:pt x="2574" y="1"/>
                  </a:moveTo>
                  <a:cubicBezTo>
                    <a:pt x="1153" y="1"/>
                    <a:pt x="0" y="34"/>
                    <a:pt x="0" y="68"/>
                  </a:cubicBezTo>
                  <a:cubicBezTo>
                    <a:pt x="0" y="118"/>
                    <a:pt x="1153" y="151"/>
                    <a:pt x="2574" y="151"/>
                  </a:cubicBezTo>
                  <a:cubicBezTo>
                    <a:pt x="3994" y="151"/>
                    <a:pt x="5147" y="118"/>
                    <a:pt x="5147" y="68"/>
                  </a:cubicBezTo>
                  <a:cubicBezTo>
                    <a:pt x="5147" y="34"/>
                    <a:pt x="4010" y="1"/>
                    <a:pt x="257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6" name="Google Shape;1026;p34"/>
            <p:cNvSpPr/>
            <p:nvPr/>
          </p:nvSpPr>
          <p:spPr>
            <a:xfrm>
              <a:off x="6283245" y="3073482"/>
              <a:ext cx="74484" cy="4840"/>
            </a:xfrm>
            <a:custGeom>
              <a:avLst/>
              <a:gdLst/>
              <a:ahLst/>
              <a:cxnLst/>
              <a:rect l="l" t="t" r="r" b="b"/>
              <a:pathLst>
                <a:path w="2324" h="151" extrusionOk="0">
                  <a:moveTo>
                    <a:pt x="1154" y="0"/>
                  </a:moveTo>
                  <a:cubicBezTo>
                    <a:pt x="519" y="0"/>
                    <a:pt x="1" y="34"/>
                    <a:pt x="1" y="67"/>
                  </a:cubicBezTo>
                  <a:cubicBezTo>
                    <a:pt x="1" y="117"/>
                    <a:pt x="519" y="150"/>
                    <a:pt x="1154" y="150"/>
                  </a:cubicBezTo>
                  <a:cubicBezTo>
                    <a:pt x="1805" y="150"/>
                    <a:pt x="2323" y="117"/>
                    <a:pt x="2323" y="67"/>
                  </a:cubicBezTo>
                  <a:cubicBezTo>
                    <a:pt x="2323" y="34"/>
                    <a:pt x="1805" y="0"/>
                    <a:pt x="115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7" name="Google Shape;1027;p34"/>
            <p:cNvSpPr/>
            <p:nvPr/>
          </p:nvSpPr>
          <p:spPr>
            <a:xfrm>
              <a:off x="6376959" y="3073482"/>
              <a:ext cx="123745" cy="4840"/>
            </a:xfrm>
            <a:custGeom>
              <a:avLst/>
              <a:gdLst/>
              <a:ahLst/>
              <a:cxnLst/>
              <a:rect l="l" t="t" r="r" b="b"/>
              <a:pathLst>
                <a:path w="3861" h="151" extrusionOk="0">
                  <a:moveTo>
                    <a:pt x="1922" y="0"/>
                  </a:moveTo>
                  <a:cubicBezTo>
                    <a:pt x="853" y="0"/>
                    <a:pt x="1" y="34"/>
                    <a:pt x="1" y="67"/>
                  </a:cubicBezTo>
                  <a:cubicBezTo>
                    <a:pt x="1" y="117"/>
                    <a:pt x="853" y="150"/>
                    <a:pt x="1922" y="150"/>
                  </a:cubicBezTo>
                  <a:cubicBezTo>
                    <a:pt x="2992" y="150"/>
                    <a:pt x="3860" y="117"/>
                    <a:pt x="3860" y="67"/>
                  </a:cubicBezTo>
                  <a:cubicBezTo>
                    <a:pt x="3860" y="34"/>
                    <a:pt x="2992" y="0"/>
                    <a:pt x="192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8" name="Google Shape;1028;p34"/>
            <p:cNvSpPr/>
            <p:nvPr/>
          </p:nvSpPr>
          <p:spPr>
            <a:xfrm>
              <a:off x="6441764" y="2789648"/>
              <a:ext cx="25736" cy="4840"/>
            </a:xfrm>
            <a:custGeom>
              <a:avLst/>
              <a:gdLst/>
              <a:ahLst/>
              <a:cxnLst/>
              <a:rect l="l" t="t" r="r" b="b"/>
              <a:pathLst>
                <a:path w="803" h="151" extrusionOk="0">
                  <a:moveTo>
                    <a:pt x="401" y="1"/>
                  </a:moveTo>
                  <a:cubicBezTo>
                    <a:pt x="184" y="1"/>
                    <a:pt x="0" y="34"/>
                    <a:pt x="0" y="84"/>
                  </a:cubicBezTo>
                  <a:cubicBezTo>
                    <a:pt x="0" y="118"/>
                    <a:pt x="184" y="151"/>
                    <a:pt x="401" y="151"/>
                  </a:cubicBezTo>
                  <a:cubicBezTo>
                    <a:pt x="619" y="151"/>
                    <a:pt x="802" y="118"/>
                    <a:pt x="802" y="84"/>
                  </a:cubicBezTo>
                  <a:cubicBezTo>
                    <a:pt x="802" y="34"/>
                    <a:pt x="619" y="1"/>
                    <a:pt x="4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" name="Google Shape;1029;p34"/>
            <p:cNvSpPr/>
            <p:nvPr/>
          </p:nvSpPr>
          <p:spPr>
            <a:xfrm>
              <a:off x="6149917" y="2771988"/>
              <a:ext cx="56248" cy="5384"/>
            </a:xfrm>
            <a:custGeom>
              <a:avLst/>
              <a:gdLst/>
              <a:ahLst/>
              <a:cxnLst/>
              <a:rect l="l" t="t" r="r" b="b"/>
              <a:pathLst>
                <a:path w="1755" h="168" extrusionOk="0">
                  <a:moveTo>
                    <a:pt x="886" y="0"/>
                  </a:moveTo>
                  <a:cubicBezTo>
                    <a:pt x="385" y="0"/>
                    <a:pt x="0" y="50"/>
                    <a:pt x="0" y="84"/>
                  </a:cubicBezTo>
                  <a:cubicBezTo>
                    <a:pt x="0" y="134"/>
                    <a:pt x="385" y="167"/>
                    <a:pt x="886" y="167"/>
                  </a:cubicBezTo>
                  <a:cubicBezTo>
                    <a:pt x="1370" y="167"/>
                    <a:pt x="1755" y="134"/>
                    <a:pt x="1755" y="84"/>
                  </a:cubicBezTo>
                  <a:cubicBezTo>
                    <a:pt x="1755" y="50"/>
                    <a:pt x="1370" y="0"/>
                    <a:pt x="88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" name="Google Shape;1030;p34"/>
            <p:cNvSpPr/>
            <p:nvPr/>
          </p:nvSpPr>
          <p:spPr>
            <a:xfrm>
              <a:off x="6112418" y="2722727"/>
              <a:ext cx="530203" cy="32691"/>
            </a:xfrm>
            <a:custGeom>
              <a:avLst/>
              <a:gdLst/>
              <a:ahLst/>
              <a:cxnLst/>
              <a:rect l="l" t="t" r="r" b="b"/>
              <a:pathLst>
                <a:path w="16543" h="1020" extrusionOk="0">
                  <a:moveTo>
                    <a:pt x="285" y="0"/>
                  </a:moveTo>
                  <a:lnTo>
                    <a:pt x="1" y="1019"/>
                  </a:lnTo>
                  <a:lnTo>
                    <a:pt x="16275" y="1019"/>
                  </a:lnTo>
                  <a:lnTo>
                    <a:pt x="16542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" name="Google Shape;1031;p34"/>
            <p:cNvSpPr/>
            <p:nvPr/>
          </p:nvSpPr>
          <p:spPr>
            <a:xfrm>
              <a:off x="6135462" y="2733432"/>
              <a:ext cx="13397" cy="11442"/>
            </a:xfrm>
            <a:custGeom>
              <a:avLst/>
              <a:gdLst/>
              <a:ahLst/>
              <a:cxnLst/>
              <a:rect l="l" t="t" r="r" b="b"/>
              <a:pathLst>
                <a:path w="418" h="357" extrusionOk="0">
                  <a:moveTo>
                    <a:pt x="251" y="0"/>
                  </a:moveTo>
                  <a:cubicBezTo>
                    <a:pt x="84" y="0"/>
                    <a:pt x="0" y="184"/>
                    <a:pt x="117" y="301"/>
                  </a:cubicBezTo>
                  <a:cubicBezTo>
                    <a:pt x="155" y="339"/>
                    <a:pt x="201" y="356"/>
                    <a:pt x="245" y="356"/>
                  </a:cubicBezTo>
                  <a:cubicBezTo>
                    <a:pt x="335" y="356"/>
                    <a:pt x="418" y="285"/>
                    <a:pt x="418" y="184"/>
                  </a:cubicBezTo>
                  <a:cubicBezTo>
                    <a:pt x="418" y="84"/>
                    <a:pt x="334" y="0"/>
                    <a:pt x="25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" name="Google Shape;1032;p34"/>
            <p:cNvSpPr/>
            <p:nvPr/>
          </p:nvSpPr>
          <p:spPr>
            <a:xfrm>
              <a:off x="6155269" y="2733432"/>
              <a:ext cx="13429" cy="11442"/>
            </a:xfrm>
            <a:custGeom>
              <a:avLst/>
              <a:gdLst/>
              <a:ahLst/>
              <a:cxnLst/>
              <a:rect l="l" t="t" r="r" b="b"/>
              <a:pathLst>
                <a:path w="419" h="357" extrusionOk="0">
                  <a:moveTo>
                    <a:pt x="234" y="0"/>
                  </a:moveTo>
                  <a:cubicBezTo>
                    <a:pt x="84" y="0"/>
                    <a:pt x="0" y="184"/>
                    <a:pt x="117" y="301"/>
                  </a:cubicBezTo>
                  <a:cubicBezTo>
                    <a:pt x="150" y="339"/>
                    <a:pt x="194" y="356"/>
                    <a:pt x="237" y="356"/>
                  </a:cubicBezTo>
                  <a:cubicBezTo>
                    <a:pt x="327" y="356"/>
                    <a:pt x="418" y="285"/>
                    <a:pt x="418" y="184"/>
                  </a:cubicBezTo>
                  <a:cubicBezTo>
                    <a:pt x="418" y="84"/>
                    <a:pt x="335" y="0"/>
                    <a:pt x="23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" name="Google Shape;1033;p34"/>
            <p:cNvSpPr/>
            <p:nvPr/>
          </p:nvSpPr>
          <p:spPr>
            <a:xfrm>
              <a:off x="6175076" y="2733432"/>
              <a:ext cx="12884" cy="11442"/>
            </a:xfrm>
            <a:custGeom>
              <a:avLst/>
              <a:gdLst/>
              <a:ahLst/>
              <a:cxnLst/>
              <a:rect l="l" t="t" r="r" b="b"/>
              <a:pathLst>
                <a:path w="402" h="357" extrusionOk="0">
                  <a:moveTo>
                    <a:pt x="234" y="0"/>
                  </a:moveTo>
                  <a:cubicBezTo>
                    <a:pt x="67" y="0"/>
                    <a:pt x="1" y="184"/>
                    <a:pt x="101" y="301"/>
                  </a:cubicBezTo>
                  <a:cubicBezTo>
                    <a:pt x="139" y="339"/>
                    <a:pt x="185" y="356"/>
                    <a:pt x="228" y="356"/>
                  </a:cubicBezTo>
                  <a:cubicBezTo>
                    <a:pt x="318" y="356"/>
                    <a:pt x="402" y="285"/>
                    <a:pt x="402" y="184"/>
                  </a:cubicBezTo>
                  <a:cubicBezTo>
                    <a:pt x="402" y="84"/>
                    <a:pt x="335" y="0"/>
                    <a:pt x="23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" name="Google Shape;1034;p34"/>
            <p:cNvSpPr/>
            <p:nvPr/>
          </p:nvSpPr>
          <p:spPr>
            <a:xfrm>
              <a:off x="6033158" y="3269468"/>
              <a:ext cx="1236008" cy="720837"/>
            </a:xfrm>
            <a:custGeom>
              <a:avLst/>
              <a:gdLst/>
              <a:ahLst/>
              <a:cxnLst/>
              <a:rect l="l" t="t" r="r" b="b"/>
              <a:pathLst>
                <a:path w="38565" h="22491" extrusionOk="0">
                  <a:moveTo>
                    <a:pt x="1" y="0"/>
                  </a:moveTo>
                  <a:lnTo>
                    <a:pt x="1" y="22490"/>
                  </a:lnTo>
                  <a:lnTo>
                    <a:pt x="38564" y="22490"/>
                  </a:lnTo>
                  <a:lnTo>
                    <a:pt x="38564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" name="Google Shape;1035;p34"/>
            <p:cNvSpPr/>
            <p:nvPr/>
          </p:nvSpPr>
          <p:spPr>
            <a:xfrm>
              <a:off x="6033158" y="3269468"/>
              <a:ext cx="562862" cy="720837"/>
            </a:xfrm>
            <a:custGeom>
              <a:avLst/>
              <a:gdLst/>
              <a:ahLst/>
              <a:cxnLst/>
              <a:rect l="l" t="t" r="r" b="b"/>
              <a:pathLst>
                <a:path w="17562" h="22491" extrusionOk="0">
                  <a:moveTo>
                    <a:pt x="1" y="0"/>
                  </a:moveTo>
                  <a:lnTo>
                    <a:pt x="1" y="22490"/>
                  </a:lnTo>
                  <a:lnTo>
                    <a:pt x="17561" y="22490"/>
                  </a:lnTo>
                  <a:lnTo>
                    <a:pt x="175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" name="Google Shape;1036;p34"/>
            <p:cNvSpPr/>
            <p:nvPr/>
          </p:nvSpPr>
          <p:spPr>
            <a:xfrm>
              <a:off x="6083509" y="3311229"/>
              <a:ext cx="457354" cy="205665"/>
            </a:xfrm>
            <a:custGeom>
              <a:avLst/>
              <a:gdLst/>
              <a:ahLst/>
              <a:cxnLst/>
              <a:rect l="l" t="t" r="r" b="b"/>
              <a:pathLst>
                <a:path w="14270" h="6417" extrusionOk="0">
                  <a:moveTo>
                    <a:pt x="152" y="83"/>
                  </a:moveTo>
                  <a:cubicBezTo>
                    <a:pt x="152" y="83"/>
                    <a:pt x="152" y="83"/>
                    <a:pt x="151" y="84"/>
                  </a:cubicBezTo>
                  <a:lnTo>
                    <a:pt x="151" y="84"/>
                  </a:lnTo>
                  <a:lnTo>
                    <a:pt x="151" y="84"/>
                  </a:lnTo>
                  <a:cubicBezTo>
                    <a:pt x="152" y="83"/>
                    <a:pt x="152" y="83"/>
                    <a:pt x="152" y="83"/>
                  </a:cubicBezTo>
                  <a:close/>
                  <a:moveTo>
                    <a:pt x="84" y="1"/>
                  </a:moveTo>
                  <a:cubicBezTo>
                    <a:pt x="58" y="27"/>
                    <a:pt x="9" y="76"/>
                    <a:pt x="0" y="84"/>
                  </a:cubicBezTo>
                  <a:lnTo>
                    <a:pt x="0" y="84"/>
                  </a:lnTo>
                  <a:lnTo>
                    <a:pt x="0" y="903"/>
                  </a:lnTo>
                  <a:lnTo>
                    <a:pt x="0" y="1722"/>
                  </a:lnTo>
                  <a:lnTo>
                    <a:pt x="0" y="3309"/>
                  </a:lnTo>
                  <a:cubicBezTo>
                    <a:pt x="0" y="4345"/>
                    <a:pt x="0" y="5364"/>
                    <a:pt x="0" y="6333"/>
                  </a:cubicBezTo>
                  <a:lnTo>
                    <a:pt x="0" y="6417"/>
                  </a:lnTo>
                  <a:lnTo>
                    <a:pt x="84" y="6417"/>
                  </a:lnTo>
                  <a:lnTo>
                    <a:pt x="10243" y="6383"/>
                  </a:lnTo>
                  <a:cubicBezTo>
                    <a:pt x="11496" y="6367"/>
                    <a:pt x="12482" y="6367"/>
                    <a:pt x="13167" y="6350"/>
                  </a:cubicBezTo>
                  <a:lnTo>
                    <a:pt x="14136" y="6350"/>
                  </a:lnTo>
                  <a:cubicBezTo>
                    <a:pt x="14169" y="6350"/>
                    <a:pt x="14186" y="6333"/>
                    <a:pt x="14203" y="6333"/>
                  </a:cubicBezTo>
                  <a:lnTo>
                    <a:pt x="13935" y="6333"/>
                  </a:lnTo>
                  <a:lnTo>
                    <a:pt x="13133" y="6317"/>
                  </a:lnTo>
                  <a:cubicBezTo>
                    <a:pt x="12448" y="6317"/>
                    <a:pt x="11446" y="6300"/>
                    <a:pt x="10193" y="6300"/>
                  </a:cubicBezTo>
                  <a:lnTo>
                    <a:pt x="151" y="6267"/>
                  </a:lnTo>
                  <a:lnTo>
                    <a:pt x="151" y="6267"/>
                  </a:lnTo>
                  <a:cubicBezTo>
                    <a:pt x="151" y="5317"/>
                    <a:pt x="151" y="4321"/>
                    <a:pt x="151" y="3309"/>
                  </a:cubicBezTo>
                  <a:lnTo>
                    <a:pt x="151" y="1722"/>
                  </a:lnTo>
                  <a:lnTo>
                    <a:pt x="151" y="903"/>
                  </a:lnTo>
                  <a:lnTo>
                    <a:pt x="151" y="168"/>
                  </a:lnTo>
                  <a:lnTo>
                    <a:pt x="151" y="168"/>
                  </a:lnTo>
                  <a:lnTo>
                    <a:pt x="14153" y="151"/>
                  </a:lnTo>
                  <a:lnTo>
                    <a:pt x="14153" y="151"/>
                  </a:lnTo>
                  <a:cubicBezTo>
                    <a:pt x="14169" y="2042"/>
                    <a:pt x="14169" y="3572"/>
                    <a:pt x="14186" y="4646"/>
                  </a:cubicBezTo>
                  <a:cubicBezTo>
                    <a:pt x="14186" y="5180"/>
                    <a:pt x="14186" y="5598"/>
                    <a:pt x="14186" y="5899"/>
                  </a:cubicBezTo>
                  <a:cubicBezTo>
                    <a:pt x="14203" y="6032"/>
                    <a:pt x="14203" y="6133"/>
                    <a:pt x="14203" y="6216"/>
                  </a:cubicBezTo>
                  <a:cubicBezTo>
                    <a:pt x="14203" y="6266"/>
                    <a:pt x="14203" y="6300"/>
                    <a:pt x="14203" y="6333"/>
                  </a:cubicBezTo>
                  <a:cubicBezTo>
                    <a:pt x="14219" y="6300"/>
                    <a:pt x="14219" y="6266"/>
                    <a:pt x="14219" y="6233"/>
                  </a:cubicBezTo>
                  <a:cubicBezTo>
                    <a:pt x="14219" y="6149"/>
                    <a:pt x="14219" y="6049"/>
                    <a:pt x="14219" y="5916"/>
                  </a:cubicBezTo>
                  <a:cubicBezTo>
                    <a:pt x="14219" y="5615"/>
                    <a:pt x="14219" y="5214"/>
                    <a:pt x="14236" y="4679"/>
                  </a:cubicBezTo>
                  <a:cubicBezTo>
                    <a:pt x="14236" y="3576"/>
                    <a:pt x="14253" y="2022"/>
                    <a:pt x="14270" y="84"/>
                  </a:cubicBezTo>
                  <a:lnTo>
                    <a:pt x="14270" y="34"/>
                  </a:lnTo>
                  <a:lnTo>
                    <a:pt x="14203" y="34"/>
                  </a:lnTo>
                  <a:lnTo>
                    <a:pt x="84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" name="Google Shape;1037;p34"/>
            <p:cNvSpPr/>
            <p:nvPr/>
          </p:nvSpPr>
          <p:spPr>
            <a:xfrm>
              <a:off x="6285937" y="3392636"/>
              <a:ext cx="46601" cy="43107"/>
            </a:xfrm>
            <a:custGeom>
              <a:avLst/>
              <a:gdLst/>
              <a:ahLst/>
              <a:cxnLst/>
              <a:rect l="l" t="t" r="r" b="b"/>
              <a:pathLst>
                <a:path w="1454" h="1345" extrusionOk="0">
                  <a:moveTo>
                    <a:pt x="808" y="1"/>
                  </a:moveTo>
                  <a:cubicBezTo>
                    <a:pt x="737" y="1"/>
                    <a:pt x="667" y="12"/>
                    <a:pt x="602" y="34"/>
                  </a:cubicBezTo>
                  <a:cubicBezTo>
                    <a:pt x="0" y="251"/>
                    <a:pt x="0" y="1103"/>
                    <a:pt x="602" y="1304"/>
                  </a:cubicBezTo>
                  <a:cubicBezTo>
                    <a:pt x="669" y="1331"/>
                    <a:pt x="741" y="1344"/>
                    <a:pt x="814" y="1344"/>
                  </a:cubicBezTo>
                  <a:cubicBezTo>
                    <a:pt x="960" y="1344"/>
                    <a:pt x="1109" y="1293"/>
                    <a:pt x="1220" y="1203"/>
                  </a:cubicBezTo>
                  <a:cubicBezTo>
                    <a:pt x="1337" y="1103"/>
                    <a:pt x="1420" y="969"/>
                    <a:pt x="1437" y="836"/>
                  </a:cubicBezTo>
                  <a:cubicBezTo>
                    <a:pt x="1454" y="736"/>
                    <a:pt x="1437" y="669"/>
                    <a:pt x="1420" y="669"/>
                  </a:cubicBezTo>
                  <a:cubicBezTo>
                    <a:pt x="1387" y="836"/>
                    <a:pt x="1287" y="1003"/>
                    <a:pt x="1153" y="1103"/>
                  </a:cubicBezTo>
                  <a:cubicBezTo>
                    <a:pt x="1056" y="1168"/>
                    <a:pt x="945" y="1205"/>
                    <a:pt x="833" y="1205"/>
                  </a:cubicBezTo>
                  <a:cubicBezTo>
                    <a:pt x="772" y="1205"/>
                    <a:pt x="711" y="1194"/>
                    <a:pt x="652" y="1170"/>
                  </a:cubicBezTo>
                  <a:cubicBezTo>
                    <a:pt x="184" y="1003"/>
                    <a:pt x="184" y="351"/>
                    <a:pt x="652" y="184"/>
                  </a:cubicBezTo>
                  <a:cubicBezTo>
                    <a:pt x="719" y="157"/>
                    <a:pt x="788" y="144"/>
                    <a:pt x="857" y="144"/>
                  </a:cubicBezTo>
                  <a:cubicBezTo>
                    <a:pt x="961" y="144"/>
                    <a:pt x="1063" y="174"/>
                    <a:pt x="1153" y="234"/>
                  </a:cubicBezTo>
                  <a:cubicBezTo>
                    <a:pt x="1287" y="351"/>
                    <a:pt x="1387" y="502"/>
                    <a:pt x="1420" y="669"/>
                  </a:cubicBezTo>
                  <a:cubicBezTo>
                    <a:pt x="1437" y="669"/>
                    <a:pt x="1454" y="619"/>
                    <a:pt x="1437" y="518"/>
                  </a:cubicBezTo>
                  <a:cubicBezTo>
                    <a:pt x="1420" y="368"/>
                    <a:pt x="1337" y="251"/>
                    <a:pt x="1220" y="151"/>
                  </a:cubicBezTo>
                  <a:cubicBezTo>
                    <a:pt x="1107" y="49"/>
                    <a:pt x="956" y="1"/>
                    <a:pt x="80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" name="Google Shape;1038;p34"/>
            <p:cNvSpPr/>
            <p:nvPr/>
          </p:nvSpPr>
          <p:spPr>
            <a:xfrm>
              <a:off x="6083509" y="3531861"/>
              <a:ext cx="457354" cy="205665"/>
            </a:xfrm>
            <a:custGeom>
              <a:avLst/>
              <a:gdLst/>
              <a:ahLst/>
              <a:cxnLst/>
              <a:rect l="l" t="t" r="r" b="b"/>
              <a:pathLst>
                <a:path w="14270" h="6417" extrusionOk="0">
                  <a:moveTo>
                    <a:pt x="152" y="83"/>
                  </a:moveTo>
                  <a:cubicBezTo>
                    <a:pt x="152" y="83"/>
                    <a:pt x="152" y="83"/>
                    <a:pt x="151" y="84"/>
                  </a:cubicBezTo>
                  <a:lnTo>
                    <a:pt x="151" y="84"/>
                  </a:lnTo>
                  <a:lnTo>
                    <a:pt x="151" y="84"/>
                  </a:lnTo>
                  <a:cubicBezTo>
                    <a:pt x="152" y="83"/>
                    <a:pt x="152" y="83"/>
                    <a:pt x="152" y="83"/>
                  </a:cubicBezTo>
                  <a:close/>
                  <a:moveTo>
                    <a:pt x="84" y="1"/>
                  </a:moveTo>
                  <a:cubicBezTo>
                    <a:pt x="58" y="27"/>
                    <a:pt x="9" y="76"/>
                    <a:pt x="0" y="84"/>
                  </a:cubicBezTo>
                  <a:lnTo>
                    <a:pt x="0" y="84"/>
                  </a:lnTo>
                  <a:lnTo>
                    <a:pt x="0" y="903"/>
                  </a:lnTo>
                  <a:lnTo>
                    <a:pt x="0" y="1705"/>
                  </a:lnTo>
                  <a:lnTo>
                    <a:pt x="0" y="3309"/>
                  </a:lnTo>
                  <a:cubicBezTo>
                    <a:pt x="0" y="4345"/>
                    <a:pt x="0" y="5364"/>
                    <a:pt x="0" y="6333"/>
                  </a:cubicBezTo>
                  <a:lnTo>
                    <a:pt x="0" y="6417"/>
                  </a:lnTo>
                  <a:lnTo>
                    <a:pt x="84" y="6417"/>
                  </a:lnTo>
                  <a:lnTo>
                    <a:pt x="10243" y="6367"/>
                  </a:lnTo>
                  <a:cubicBezTo>
                    <a:pt x="11496" y="6367"/>
                    <a:pt x="12482" y="6350"/>
                    <a:pt x="13167" y="6350"/>
                  </a:cubicBezTo>
                  <a:lnTo>
                    <a:pt x="13952" y="6350"/>
                  </a:lnTo>
                  <a:cubicBezTo>
                    <a:pt x="14019" y="6333"/>
                    <a:pt x="14086" y="6333"/>
                    <a:pt x="14136" y="6333"/>
                  </a:cubicBezTo>
                  <a:cubicBezTo>
                    <a:pt x="14086" y="6333"/>
                    <a:pt x="14019" y="6333"/>
                    <a:pt x="13935" y="6316"/>
                  </a:cubicBezTo>
                  <a:lnTo>
                    <a:pt x="13133" y="6316"/>
                  </a:lnTo>
                  <a:lnTo>
                    <a:pt x="10193" y="6300"/>
                  </a:lnTo>
                  <a:lnTo>
                    <a:pt x="151" y="6267"/>
                  </a:lnTo>
                  <a:lnTo>
                    <a:pt x="151" y="6267"/>
                  </a:lnTo>
                  <a:cubicBezTo>
                    <a:pt x="151" y="5317"/>
                    <a:pt x="151" y="4321"/>
                    <a:pt x="151" y="3309"/>
                  </a:cubicBezTo>
                  <a:lnTo>
                    <a:pt x="151" y="1705"/>
                  </a:lnTo>
                  <a:lnTo>
                    <a:pt x="151" y="903"/>
                  </a:lnTo>
                  <a:lnTo>
                    <a:pt x="151" y="167"/>
                  </a:lnTo>
                  <a:lnTo>
                    <a:pt x="151" y="167"/>
                  </a:lnTo>
                  <a:cubicBezTo>
                    <a:pt x="5580" y="151"/>
                    <a:pt x="10530" y="151"/>
                    <a:pt x="14153" y="134"/>
                  </a:cubicBezTo>
                  <a:lnTo>
                    <a:pt x="14153" y="134"/>
                  </a:lnTo>
                  <a:cubicBezTo>
                    <a:pt x="14169" y="2033"/>
                    <a:pt x="14169" y="3569"/>
                    <a:pt x="14186" y="4646"/>
                  </a:cubicBezTo>
                  <a:cubicBezTo>
                    <a:pt x="14186" y="5180"/>
                    <a:pt x="14186" y="5598"/>
                    <a:pt x="14186" y="5882"/>
                  </a:cubicBezTo>
                  <a:cubicBezTo>
                    <a:pt x="14203" y="6032"/>
                    <a:pt x="14203" y="6133"/>
                    <a:pt x="14203" y="6216"/>
                  </a:cubicBezTo>
                  <a:cubicBezTo>
                    <a:pt x="14203" y="6250"/>
                    <a:pt x="14203" y="6300"/>
                    <a:pt x="14203" y="6333"/>
                  </a:cubicBezTo>
                  <a:cubicBezTo>
                    <a:pt x="14219" y="6300"/>
                    <a:pt x="14219" y="6266"/>
                    <a:pt x="14219" y="6233"/>
                  </a:cubicBezTo>
                  <a:cubicBezTo>
                    <a:pt x="14219" y="6149"/>
                    <a:pt x="14219" y="6049"/>
                    <a:pt x="14219" y="5915"/>
                  </a:cubicBezTo>
                  <a:cubicBezTo>
                    <a:pt x="14219" y="5615"/>
                    <a:pt x="14219" y="5197"/>
                    <a:pt x="14236" y="4679"/>
                  </a:cubicBezTo>
                  <a:cubicBezTo>
                    <a:pt x="14236" y="3576"/>
                    <a:pt x="14253" y="2006"/>
                    <a:pt x="14270" y="84"/>
                  </a:cubicBezTo>
                  <a:lnTo>
                    <a:pt x="14270" y="34"/>
                  </a:lnTo>
                  <a:lnTo>
                    <a:pt x="14203" y="34"/>
                  </a:lnTo>
                  <a:lnTo>
                    <a:pt x="84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" name="Google Shape;1039;p34"/>
            <p:cNvSpPr/>
            <p:nvPr/>
          </p:nvSpPr>
          <p:spPr>
            <a:xfrm>
              <a:off x="6285937" y="3613268"/>
              <a:ext cx="46601" cy="42851"/>
            </a:xfrm>
            <a:custGeom>
              <a:avLst/>
              <a:gdLst/>
              <a:ahLst/>
              <a:cxnLst/>
              <a:rect l="l" t="t" r="r" b="b"/>
              <a:pathLst>
                <a:path w="1454" h="1337" extrusionOk="0">
                  <a:moveTo>
                    <a:pt x="808" y="1"/>
                  </a:moveTo>
                  <a:cubicBezTo>
                    <a:pt x="737" y="1"/>
                    <a:pt x="667" y="12"/>
                    <a:pt x="602" y="34"/>
                  </a:cubicBezTo>
                  <a:cubicBezTo>
                    <a:pt x="0" y="251"/>
                    <a:pt x="0" y="1086"/>
                    <a:pt x="602" y="1304"/>
                  </a:cubicBezTo>
                  <a:cubicBezTo>
                    <a:pt x="667" y="1325"/>
                    <a:pt x="737" y="1336"/>
                    <a:pt x="808" y="1336"/>
                  </a:cubicBezTo>
                  <a:cubicBezTo>
                    <a:pt x="956" y="1336"/>
                    <a:pt x="1107" y="1288"/>
                    <a:pt x="1220" y="1187"/>
                  </a:cubicBezTo>
                  <a:cubicBezTo>
                    <a:pt x="1337" y="1103"/>
                    <a:pt x="1420" y="969"/>
                    <a:pt x="1437" y="819"/>
                  </a:cubicBezTo>
                  <a:cubicBezTo>
                    <a:pt x="1454" y="719"/>
                    <a:pt x="1437" y="669"/>
                    <a:pt x="1420" y="669"/>
                  </a:cubicBezTo>
                  <a:cubicBezTo>
                    <a:pt x="1387" y="836"/>
                    <a:pt x="1287" y="986"/>
                    <a:pt x="1153" y="1103"/>
                  </a:cubicBezTo>
                  <a:cubicBezTo>
                    <a:pt x="1056" y="1168"/>
                    <a:pt x="945" y="1205"/>
                    <a:pt x="833" y="1205"/>
                  </a:cubicBezTo>
                  <a:cubicBezTo>
                    <a:pt x="772" y="1205"/>
                    <a:pt x="711" y="1194"/>
                    <a:pt x="652" y="1170"/>
                  </a:cubicBezTo>
                  <a:cubicBezTo>
                    <a:pt x="184" y="986"/>
                    <a:pt x="184" y="351"/>
                    <a:pt x="652" y="167"/>
                  </a:cubicBezTo>
                  <a:cubicBezTo>
                    <a:pt x="711" y="144"/>
                    <a:pt x="772" y="133"/>
                    <a:pt x="833" y="133"/>
                  </a:cubicBezTo>
                  <a:cubicBezTo>
                    <a:pt x="945" y="133"/>
                    <a:pt x="1056" y="169"/>
                    <a:pt x="1153" y="234"/>
                  </a:cubicBezTo>
                  <a:cubicBezTo>
                    <a:pt x="1287" y="351"/>
                    <a:pt x="1387" y="502"/>
                    <a:pt x="1420" y="669"/>
                  </a:cubicBezTo>
                  <a:cubicBezTo>
                    <a:pt x="1437" y="669"/>
                    <a:pt x="1454" y="619"/>
                    <a:pt x="1437" y="518"/>
                  </a:cubicBezTo>
                  <a:cubicBezTo>
                    <a:pt x="1420" y="368"/>
                    <a:pt x="1337" y="234"/>
                    <a:pt x="1220" y="151"/>
                  </a:cubicBezTo>
                  <a:cubicBezTo>
                    <a:pt x="1107" y="49"/>
                    <a:pt x="956" y="1"/>
                    <a:pt x="80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" name="Google Shape;1040;p34"/>
            <p:cNvSpPr/>
            <p:nvPr/>
          </p:nvSpPr>
          <p:spPr>
            <a:xfrm>
              <a:off x="6083509" y="3752494"/>
              <a:ext cx="457354" cy="205120"/>
            </a:xfrm>
            <a:custGeom>
              <a:avLst/>
              <a:gdLst/>
              <a:ahLst/>
              <a:cxnLst/>
              <a:rect l="l" t="t" r="r" b="b"/>
              <a:pathLst>
                <a:path w="14270" h="6400" extrusionOk="0">
                  <a:moveTo>
                    <a:pt x="14157" y="6326"/>
                  </a:moveTo>
                  <a:cubicBezTo>
                    <a:pt x="14149" y="6326"/>
                    <a:pt x="14141" y="6327"/>
                    <a:pt x="14136" y="6333"/>
                  </a:cubicBezTo>
                  <a:lnTo>
                    <a:pt x="14203" y="6333"/>
                  </a:lnTo>
                  <a:cubicBezTo>
                    <a:pt x="14192" y="6333"/>
                    <a:pt x="14173" y="6326"/>
                    <a:pt x="14157" y="6326"/>
                  </a:cubicBezTo>
                  <a:close/>
                  <a:moveTo>
                    <a:pt x="84" y="1"/>
                  </a:moveTo>
                  <a:cubicBezTo>
                    <a:pt x="58" y="26"/>
                    <a:pt x="9" y="76"/>
                    <a:pt x="0" y="84"/>
                  </a:cubicBezTo>
                  <a:lnTo>
                    <a:pt x="0" y="84"/>
                  </a:lnTo>
                  <a:lnTo>
                    <a:pt x="0" y="903"/>
                  </a:lnTo>
                  <a:lnTo>
                    <a:pt x="0" y="1705"/>
                  </a:lnTo>
                  <a:lnTo>
                    <a:pt x="0" y="3292"/>
                  </a:lnTo>
                  <a:cubicBezTo>
                    <a:pt x="0" y="4345"/>
                    <a:pt x="0" y="5364"/>
                    <a:pt x="0" y="6333"/>
                  </a:cubicBezTo>
                  <a:lnTo>
                    <a:pt x="0" y="6400"/>
                  </a:lnTo>
                  <a:lnTo>
                    <a:pt x="84" y="6400"/>
                  </a:lnTo>
                  <a:lnTo>
                    <a:pt x="10243" y="6366"/>
                  </a:lnTo>
                  <a:lnTo>
                    <a:pt x="13167" y="6350"/>
                  </a:lnTo>
                  <a:lnTo>
                    <a:pt x="13952" y="6333"/>
                  </a:lnTo>
                  <a:lnTo>
                    <a:pt x="14136" y="6333"/>
                  </a:lnTo>
                  <a:lnTo>
                    <a:pt x="13935" y="6316"/>
                  </a:lnTo>
                  <a:lnTo>
                    <a:pt x="13133" y="6316"/>
                  </a:lnTo>
                  <a:lnTo>
                    <a:pt x="10193" y="6283"/>
                  </a:lnTo>
                  <a:lnTo>
                    <a:pt x="151" y="6250"/>
                  </a:lnTo>
                  <a:lnTo>
                    <a:pt x="151" y="6250"/>
                  </a:lnTo>
                  <a:cubicBezTo>
                    <a:pt x="151" y="5306"/>
                    <a:pt x="151" y="4315"/>
                    <a:pt x="151" y="3292"/>
                  </a:cubicBezTo>
                  <a:lnTo>
                    <a:pt x="151" y="1705"/>
                  </a:lnTo>
                  <a:lnTo>
                    <a:pt x="151" y="903"/>
                  </a:lnTo>
                  <a:lnTo>
                    <a:pt x="151" y="151"/>
                  </a:lnTo>
                  <a:lnTo>
                    <a:pt x="151" y="151"/>
                  </a:lnTo>
                  <a:lnTo>
                    <a:pt x="14153" y="134"/>
                  </a:lnTo>
                  <a:lnTo>
                    <a:pt x="14153" y="134"/>
                  </a:lnTo>
                  <a:cubicBezTo>
                    <a:pt x="14169" y="2016"/>
                    <a:pt x="14169" y="3552"/>
                    <a:pt x="14186" y="4629"/>
                  </a:cubicBezTo>
                  <a:cubicBezTo>
                    <a:pt x="14186" y="5163"/>
                    <a:pt x="14186" y="5581"/>
                    <a:pt x="14186" y="5882"/>
                  </a:cubicBezTo>
                  <a:cubicBezTo>
                    <a:pt x="14203" y="6016"/>
                    <a:pt x="14203" y="6133"/>
                    <a:pt x="14203" y="6216"/>
                  </a:cubicBezTo>
                  <a:cubicBezTo>
                    <a:pt x="14203" y="6249"/>
                    <a:pt x="14203" y="6283"/>
                    <a:pt x="14203" y="6333"/>
                  </a:cubicBezTo>
                  <a:cubicBezTo>
                    <a:pt x="14219" y="6300"/>
                    <a:pt x="14219" y="6266"/>
                    <a:pt x="14219" y="6233"/>
                  </a:cubicBezTo>
                  <a:cubicBezTo>
                    <a:pt x="14219" y="6149"/>
                    <a:pt x="14219" y="6032"/>
                    <a:pt x="14219" y="5915"/>
                  </a:cubicBezTo>
                  <a:cubicBezTo>
                    <a:pt x="14219" y="5615"/>
                    <a:pt x="14219" y="5197"/>
                    <a:pt x="14236" y="4662"/>
                  </a:cubicBezTo>
                  <a:cubicBezTo>
                    <a:pt x="14236" y="3576"/>
                    <a:pt x="14253" y="2006"/>
                    <a:pt x="14270" y="84"/>
                  </a:cubicBezTo>
                  <a:lnTo>
                    <a:pt x="14270" y="17"/>
                  </a:lnTo>
                  <a:lnTo>
                    <a:pt x="14203" y="17"/>
                  </a:lnTo>
                  <a:cubicBezTo>
                    <a:pt x="10560" y="17"/>
                    <a:pt x="5564" y="17"/>
                    <a:pt x="8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" name="Google Shape;1041;p34"/>
            <p:cNvSpPr/>
            <p:nvPr/>
          </p:nvSpPr>
          <p:spPr>
            <a:xfrm>
              <a:off x="6285937" y="3833676"/>
              <a:ext cx="46601" cy="43075"/>
            </a:xfrm>
            <a:custGeom>
              <a:avLst/>
              <a:gdLst/>
              <a:ahLst/>
              <a:cxnLst/>
              <a:rect l="l" t="t" r="r" b="b"/>
              <a:pathLst>
                <a:path w="1454" h="1344" extrusionOk="0">
                  <a:moveTo>
                    <a:pt x="809" y="0"/>
                  </a:moveTo>
                  <a:cubicBezTo>
                    <a:pt x="738" y="0"/>
                    <a:pt x="667" y="13"/>
                    <a:pt x="602" y="41"/>
                  </a:cubicBezTo>
                  <a:cubicBezTo>
                    <a:pt x="0" y="241"/>
                    <a:pt x="0" y="1093"/>
                    <a:pt x="602" y="1310"/>
                  </a:cubicBezTo>
                  <a:cubicBezTo>
                    <a:pt x="667" y="1332"/>
                    <a:pt x="737" y="1343"/>
                    <a:pt x="808" y="1343"/>
                  </a:cubicBezTo>
                  <a:cubicBezTo>
                    <a:pt x="956" y="1343"/>
                    <a:pt x="1107" y="1295"/>
                    <a:pt x="1220" y="1194"/>
                  </a:cubicBezTo>
                  <a:cubicBezTo>
                    <a:pt x="1337" y="1093"/>
                    <a:pt x="1420" y="976"/>
                    <a:pt x="1437" y="826"/>
                  </a:cubicBezTo>
                  <a:cubicBezTo>
                    <a:pt x="1454" y="726"/>
                    <a:pt x="1437" y="676"/>
                    <a:pt x="1420" y="676"/>
                  </a:cubicBezTo>
                  <a:cubicBezTo>
                    <a:pt x="1387" y="843"/>
                    <a:pt x="1287" y="993"/>
                    <a:pt x="1153" y="1110"/>
                  </a:cubicBezTo>
                  <a:cubicBezTo>
                    <a:pt x="1063" y="1170"/>
                    <a:pt x="961" y="1200"/>
                    <a:pt x="857" y="1200"/>
                  </a:cubicBezTo>
                  <a:cubicBezTo>
                    <a:pt x="788" y="1200"/>
                    <a:pt x="719" y="1187"/>
                    <a:pt x="652" y="1160"/>
                  </a:cubicBezTo>
                  <a:cubicBezTo>
                    <a:pt x="184" y="993"/>
                    <a:pt x="184" y="341"/>
                    <a:pt x="652" y="174"/>
                  </a:cubicBezTo>
                  <a:cubicBezTo>
                    <a:pt x="711" y="151"/>
                    <a:pt x="772" y="140"/>
                    <a:pt x="833" y="140"/>
                  </a:cubicBezTo>
                  <a:cubicBezTo>
                    <a:pt x="945" y="140"/>
                    <a:pt x="1056" y="176"/>
                    <a:pt x="1153" y="241"/>
                  </a:cubicBezTo>
                  <a:cubicBezTo>
                    <a:pt x="1287" y="341"/>
                    <a:pt x="1387" y="508"/>
                    <a:pt x="1420" y="676"/>
                  </a:cubicBezTo>
                  <a:cubicBezTo>
                    <a:pt x="1437" y="676"/>
                    <a:pt x="1454" y="625"/>
                    <a:pt x="1437" y="525"/>
                  </a:cubicBezTo>
                  <a:cubicBezTo>
                    <a:pt x="1404" y="375"/>
                    <a:pt x="1337" y="241"/>
                    <a:pt x="1220" y="158"/>
                  </a:cubicBezTo>
                  <a:cubicBezTo>
                    <a:pt x="1107" y="56"/>
                    <a:pt x="957" y="0"/>
                    <a:pt x="80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" name="Google Shape;1042;p34"/>
            <p:cNvSpPr/>
            <p:nvPr/>
          </p:nvSpPr>
          <p:spPr>
            <a:xfrm>
              <a:off x="4384346" y="3269468"/>
              <a:ext cx="825768" cy="1307736"/>
            </a:xfrm>
            <a:custGeom>
              <a:avLst/>
              <a:gdLst/>
              <a:ahLst/>
              <a:cxnLst/>
              <a:rect l="l" t="t" r="r" b="b"/>
              <a:pathLst>
                <a:path w="25765" h="40803" extrusionOk="0">
                  <a:moveTo>
                    <a:pt x="0" y="0"/>
                  </a:moveTo>
                  <a:lnTo>
                    <a:pt x="0" y="40786"/>
                  </a:lnTo>
                  <a:lnTo>
                    <a:pt x="25765" y="40803"/>
                  </a:lnTo>
                  <a:lnTo>
                    <a:pt x="25765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" name="Google Shape;1043;p34"/>
            <p:cNvSpPr/>
            <p:nvPr/>
          </p:nvSpPr>
          <p:spPr>
            <a:xfrm>
              <a:off x="4344155" y="3219118"/>
              <a:ext cx="2969977" cy="68587"/>
            </a:xfrm>
            <a:custGeom>
              <a:avLst/>
              <a:gdLst/>
              <a:ahLst/>
              <a:cxnLst/>
              <a:rect l="l" t="t" r="r" b="b"/>
              <a:pathLst>
                <a:path w="92667" h="2140" extrusionOk="0">
                  <a:moveTo>
                    <a:pt x="1" y="1"/>
                  </a:moveTo>
                  <a:lnTo>
                    <a:pt x="1" y="2140"/>
                  </a:lnTo>
                  <a:lnTo>
                    <a:pt x="92667" y="2140"/>
                  </a:lnTo>
                  <a:lnTo>
                    <a:pt x="92667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" name="Google Shape;1044;p34"/>
            <p:cNvSpPr/>
            <p:nvPr/>
          </p:nvSpPr>
          <p:spPr>
            <a:xfrm>
              <a:off x="4384346" y="3287673"/>
              <a:ext cx="92112" cy="1386996"/>
            </a:xfrm>
            <a:custGeom>
              <a:avLst/>
              <a:gdLst/>
              <a:ahLst/>
              <a:cxnLst/>
              <a:rect l="l" t="t" r="r" b="b"/>
              <a:pathLst>
                <a:path w="2874" h="43276" extrusionOk="0">
                  <a:moveTo>
                    <a:pt x="0" y="1"/>
                  </a:moveTo>
                  <a:lnTo>
                    <a:pt x="0" y="43276"/>
                  </a:lnTo>
                  <a:lnTo>
                    <a:pt x="2874" y="43276"/>
                  </a:lnTo>
                  <a:lnTo>
                    <a:pt x="2874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" name="Google Shape;1045;p34"/>
            <p:cNvSpPr/>
            <p:nvPr/>
          </p:nvSpPr>
          <p:spPr>
            <a:xfrm>
              <a:off x="7177023" y="3287673"/>
              <a:ext cx="92144" cy="1387541"/>
            </a:xfrm>
            <a:custGeom>
              <a:avLst/>
              <a:gdLst/>
              <a:ahLst/>
              <a:cxnLst/>
              <a:rect l="l" t="t" r="r" b="b"/>
              <a:pathLst>
                <a:path w="2875" h="43293" extrusionOk="0">
                  <a:moveTo>
                    <a:pt x="0" y="1"/>
                  </a:moveTo>
                  <a:lnTo>
                    <a:pt x="0" y="43292"/>
                  </a:lnTo>
                  <a:lnTo>
                    <a:pt x="2874" y="43292"/>
                  </a:lnTo>
                  <a:lnTo>
                    <a:pt x="2874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" name="Google Shape;1046;p34"/>
            <p:cNvSpPr/>
            <p:nvPr/>
          </p:nvSpPr>
          <p:spPr>
            <a:xfrm>
              <a:off x="6595988" y="3287673"/>
              <a:ext cx="92144" cy="1387541"/>
            </a:xfrm>
            <a:custGeom>
              <a:avLst/>
              <a:gdLst/>
              <a:ahLst/>
              <a:cxnLst/>
              <a:rect l="l" t="t" r="r" b="b"/>
              <a:pathLst>
                <a:path w="2875" h="43293" extrusionOk="0">
                  <a:moveTo>
                    <a:pt x="0" y="1"/>
                  </a:moveTo>
                  <a:lnTo>
                    <a:pt x="0" y="43292"/>
                  </a:lnTo>
                  <a:lnTo>
                    <a:pt x="2874" y="43292"/>
                  </a:lnTo>
                  <a:lnTo>
                    <a:pt x="2874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" name="Google Shape;1047;p34"/>
            <p:cNvSpPr/>
            <p:nvPr/>
          </p:nvSpPr>
          <p:spPr>
            <a:xfrm>
              <a:off x="4366655" y="3216457"/>
              <a:ext cx="395241" cy="5384"/>
            </a:xfrm>
            <a:custGeom>
              <a:avLst/>
              <a:gdLst/>
              <a:ahLst/>
              <a:cxnLst/>
              <a:rect l="l" t="t" r="r" b="b"/>
              <a:pathLst>
                <a:path w="12332" h="168" extrusionOk="0">
                  <a:moveTo>
                    <a:pt x="6166" y="0"/>
                  </a:moveTo>
                  <a:cubicBezTo>
                    <a:pt x="2758" y="0"/>
                    <a:pt x="1" y="34"/>
                    <a:pt x="1" y="84"/>
                  </a:cubicBezTo>
                  <a:cubicBezTo>
                    <a:pt x="1" y="134"/>
                    <a:pt x="2758" y="167"/>
                    <a:pt x="6166" y="167"/>
                  </a:cubicBezTo>
                  <a:cubicBezTo>
                    <a:pt x="9575" y="167"/>
                    <a:pt x="12332" y="134"/>
                    <a:pt x="12332" y="84"/>
                  </a:cubicBezTo>
                  <a:cubicBezTo>
                    <a:pt x="12332" y="34"/>
                    <a:pt x="9575" y="0"/>
                    <a:pt x="61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" name="Google Shape;1048;p34"/>
            <p:cNvSpPr/>
            <p:nvPr/>
          </p:nvSpPr>
          <p:spPr>
            <a:xfrm>
              <a:off x="5441964" y="4502207"/>
              <a:ext cx="344890" cy="158808"/>
            </a:xfrm>
            <a:custGeom>
              <a:avLst/>
              <a:gdLst/>
              <a:ahLst/>
              <a:cxnLst/>
              <a:rect l="l" t="t" r="r" b="b"/>
              <a:pathLst>
                <a:path w="10761" h="4955" extrusionOk="0">
                  <a:moveTo>
                    <a:pt x="151" y="0"/>
                  </a:moveTo>
                  <a:lnTo>
                    <a:pt x="1" y="4528"/>
                  </a:lnTo>
                  <a:lnTo>
                    <a:pt x="351" y="4562"/>
                  </a:lnTo>
                  <a:cubicBezTo>
                    <a:pt x="1584" y="4665"/>
                    <a:pt x="5727" y="4955"/>
                    <a:pt x="8065" y="4955"/>
                  </a:cubicBezTo>
                  <a:cubicBezTo>
                    <a:pt x="8770" y="4955"/>
                    <a:pt x="9310" y="4928"/>
                    <a:pt x="9558" y="4863"/>
                  </a:cubicBezTo>
                  <a:cubicBezTo>
                    <a:pt x="10761" y="4528"/>
                    <a:pt x="5865" y="3275"/>
                    <a:pt x="5865" y="3275"/>
                  </a:cubicBezTo>
                  <a:lnTo>
                    <a:pt x="5949" y="184"/>
                  </a:lnTo>
                  <a:lnTo>
                    <a:pt x="15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" name="Google Shape;1049;p34"/>
            <p:cNvSpPr/>
            <p:nvPr/>
          </p:nvSpPr>
          <p:spPr>
            <a:xfrm>
              <a:off x="5441964" y="4629670"/>
              <a:ext cx="319731" cy="30576"/>
            </a:xfrm>
            <a:custGeom>
              <a:avLst/>
              <a:gdLst/>
              <a:ahLst/>
              <a:cxnLst/>
              <a:rect l="l" t="t" r="r" b="b"/>
              <a:pathLst>
                <a:path w="9976" h="954" extrusionOk="0">
                  <a:moveTo>
                    <a:pt x="8255" y="0"/>
                  </a:moveTo>
                  <a:cubicBezTo>
                    <a:pt x="7920" y="0"/>
                    <a:pt x="7720" y="735"/>
                    <a:pt x="7720" y="735"/>
                  </a:cubicBezTo>
                  <a:lnTo>
                    <a:pt x="1" y="418"/>
                  </a:lnTo>
                  <a:lnTo>
                    <a:pt x="1" y="551"/>
                  </a:lnTo>
                  <a:cubicBezTo>
                    <a:pt x="1946" y="786"/>
                    <a:pt x="5552" y="954"/>
                    <a:pt x="7791" y="954"/>
                  </a:cubicBezTo>
                  <a:cubicBezTo>
                    <a:pt x="8897" y="954"/>
                    <a:pt x="9670" y="913"/>
                    <a:pt x="9742" y="819"/>
                  </a:cubicBezTo>
                  <a:cubicBezTo>
                    <a:pt x="9976" y="551"/>
                    <a:pt x="8255" y="0"/>
                    <a:pt x="825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" name="Google Shape;1050;p34"/>
            <p:cNvSpPr/>
            <p:nvPr/>
          </p:nvSpPr>
          <p:spPr>
            <a:xfrm>
              <a:off x="5439272" y="4643035"/>
              <a:ext cx="315468" cy="10737"/>
            </a:xfrm>
            <a:custGeom>
              <a:avLst/>
              <a:gdLst/>
              <a:ahLst/>
              <a:cxnLst/>
              <a:rect l="l" t="t" r="r" b="b"/>
              <a:pathLst>
                <a:path w="9843" h="335" extrusionOk="0">
                  <a:moveTo>
                    <a:pt x="1" y="1"/>
                  </a:moveTo>
                  <a:cubicBezTo>
                    <a:pt x="34" y="17"/>
                    <a:pt x="68" y="17"/>
                    <a:pt x="101" y="17"/>
                  </a:cubicBezTo>
                  <a:cubicBezTo>
                    <a:pt x="185" y="17"/>
                    <a:pt x="285" y="34"/>
                    <a:pt x="385" y="34"/>
                  </a:cubicBezTo>
                  <a:lnTo>
                    <a:pt x="1438" y="118"/>
                  </a:lnTo>
                  <a:cubicBezTo>
                    <a:pt x="2323" y="185"/>
                    <a:pt x="3560" y="251"/>
                    <a:pt x="4913" y="285"/>
                  </a:cubicBezTo>
                  <a:cubicBezTo>
                    <a:pt x="6267" y="335"/>
                    <a:pt x="7503" y="335"/>
                    <a:pt x="8389" y="335"/>
                  </a:cubicBezTo>
                  <a:lnTo>
                    <a:pt x="9441" y="318"/>
                  </a:lnTo>
                  <a:lnTo>
                    <a:pt x="9842" y="318"/>
                  </a:lnTo>
                  <a:cubicBezTo>
                    <a:pt x="9809" y="302"/>
                    <a:pt x="9775" y="302"/>
                    <a:pt x="9742" y="302"/>
                  </a:cubicBezTo>
                  <a:lnTo>
                    <a:pt x="9441" y="302"/>
                  </a:lnTo>
                  <a:lnTo>
                    <a:pt x="8389" y="285"/>
                  </a:lnTo>
                  <a:cubicBezTo>
                    <a:pt x="7503" y="285"/>
                    <a:pt x="6267" y="251"/>
                    <a:pt x="4913" y="218"/>
                  </a:cubicBezTo>
                  <a:cubicBezTo>
                    <a:pt x="3560" y="168"/>
                    <a:pt x="2323" y="118"/>
                    <a:pt x="1438" y="68"/>
                  </a:cubicBezTo>
                  <a:cubicBezTo>
                    <a:pt x="1020" y="51"/>
                    <a:pt x="669" y="34"/>
                    <a:pt x="385" y="17"/>
                  </a:cubicBezTo>
                  <a:lnTo>
                    <a:pt x="10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" name="Google Shape;1051;p34"/>
            <p:cNvSpPr/>
            <p:nvPr/>
          </p:nvSpPr>
          <p:spPr>
            <a:xfrm>
              <a:off x="5688845" y="4627523"/>
              <a:ext cx="19294" cy="28396"/>
            </a:xfrm>
            <a:custGeom>
              <a:avLst/>
              <a:gdLst/>
              <a:ahLst/>
              <a:cxnLst/>
              <a:rect l="l" t="t" r="r" b="b"/>
              <a:pathLst>
                <a:path w="602" h="886" extrusionOk="0">
                  <a:moveTo>
                    <a:pt x="602" y="0"/>
                  </a:moveTo>
                  <a:cubicBezTo>
                    <a:pt x="234" y="134"/>
                    <a:pt x="0" y="501"/>
                    <a:pt x="17" y="886"/>
                  </a:cubicBezTo>
                  <a:cubicBezTo>
                    <a:pt x="100" y="535"/>
                    <a:pt x="301" y="217"/>
                    <a:pt x="60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" name="Google Shape;1052;p34"/>
            <p:cNvSpPr/>
            <p:nvPr/>
          </p:nvSpPr>
          <p:spPr>
            <a:xfrm>
              <a:off x="5634745" y="4611402"/>
              <a:ext cx="11282" cy="15128"/>
            </a:xfrm>
            <a:custGeom>
              <a:avLst/>
              <a:gdLst/>
              <a:ahLst/>
              <a:cxnLst/>
              <a:rect l="l" t="t" r="r" b="b"/>
              <a:pathLst>
                <a:path w="352" h="472" extrusionOk="0">
                  <a:moveTo>
                    <a:pt x="330" y="0"/>
                  </a:moveTo>
                  <a:cubicBezTo>
                    <a:pt x="306" y="0"/>
                    <a:pt x="228" y="95"/>
                    <a:pt x="151" y="219"/>
                  </a:cubicBezTo>
                  <a:cubicBezTo>
                    <a:pt x="67" y="336"/>
                    <a:pt x="1" y="453"/>
                    <a:pt x="17" y="470"/>
                  </a:cubicBezTo>
                  <a:cubicBezTo>
                    <a:pt x="19" y="471"/>
                    <a:pt x="20" y="472"/>
                    <a:pt x="22" y="472"/>
                  </a:cubicBezTo>
                  <a:cubicBezTo>
                    <a:pt x="46" y="472"/>
                    <a:pt x="125" y="376"/>
                    <a:pt x="218" y="253"/>
                  </a:cubicBezTo>
                  <a:cubicBezTo>
                    <a:pt x="301" y="119"/>
                    <a:pt x="351" y="2"/>
                    <a:pt x="335" y="2"/>
                  </a:cubicBezTo>
                  <a:cubicBezTo>
                    <a:pt x="334" y="1"/>
                    <a:pt x="332" y="0"/>
                    <a:pt x="33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" name="Google Shape;1053;p34"/>
            <p:cNvSpPr/>
            <p:nvPr/>
          </p:nvSpPr>
          <p:spPr>
            <a:xfrm>
              <a:off x="5620290" y="4607620"/>
              <a:ext cx="12884" cy="10384"/>
            </a:xfrm>
            <a:custGeom>
              <a:avLst/>
              <a:gdLst/>
              <a:ahLst/>
              <a:cxnLst/>
              <a:rect l="l" t="t" r="r" b="b"/>
              <a:pathLst>
                <a:path w="402" h="324" extrusionOk="0">
                  <a:moveTo>
                    <a:pt x="377" y="0"/>
                  </a:moveTo>
                  <a:cubicBezTo>
                    <a:pt x="350" y="0"/>
                    <a:pt x="272" y="62"/>
                    <a:pt x="168" y="137"/>
                  </a:cubicBezTo>
                  <a:cubicBezTo>
                    <a:pt x="67" y="220"/>
                    <a:pt x="0" y="304"/>
                    <a:pt x="17" y="320"/>
                  </a:cubicBezTo>
                  <a:cubicBezTo>
                    <a:pt x="17" y="323"/>
                    <a:pt x="19" y="324"/>
                    <a:pt x="22" y="324"/>
                  </a:cubicBezTo>
                  <a:cubicBezTo>
                    <a:pt x="43" y="324"/>
                    <a:pt x="130" y="274"/>
                    <a:pt x="218" y="187"/>
                  </a:cubicBezTo>
                  <a:cubicBezTo>
                    <a:pt x="318" y="103"/>
                    <a:pt x="401" y="20"/>
                    <a:pt x="385" y="3"/>
                  </a:cubicBezTo>
                  <a:cubicBezTo>
                    <a:pt x="383" y="1"/>
                    <a:pt x="381" y="0"/>
                    <a:pt x="37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" name="Google Shape;1054;p34"/>
            <p:cNvSpPr/>
            <p:nvPr/>
          </p:nvSpPr>
          <p:spPr>
            <a:xfrm>
              <a:off x="5560132" y="4599319"/>
              <a:ext cx="102496" cy="85157"/>
            </a:xfrm>
            <a:custGeom>
              <a:avLst/>
              <a:gdLst/>
              <a:ahLst/>
              <a:cxnLst/>
              <a:rect l="l" t="t" r="r" b="b"/>
              <a:pathLst>
                <a:path w="3198" h="2657" extrusionOk="0">
                  <a:moveTo>
                    <a:pt x="1786" y="0"/>
                  </a:moveTo>
                  <a:cubicBezTo>
                    <a:pt x="1728" y="0"/>
                    <a:pt x="1669" y="9"/>
                    <a:pt x="1610" y="28"/>
                  </a:cubicBezTo>
                  <a:cubicBezTo>
                    <a:pt x="0" y="337"/>
                    <a:pt x="274" y="2657"/>
                    <a:pt x="1815" y="2657"/>
                  </a:cubicBezTo>
                  <a:cubicBezTo>
                    <a:pt x="1857" y="2657"/>
                    <a:pt x="1900" y="2655"/>
                    <a:pt x="1944" y="2651"/>
                  </a:cubicBezTo>
                  <a:cubicBezTo>
                    <a:pt x="2663" y="2601"/>
                    <a:pt x="3197" y="2016"/>
                    <a:pt x="3181" y="1315"/>
                  </a:cubicBezTo>
                  <a:cubicBezTo>
                    <a:pt x="3181" y="613"/>
                    <a:pt x="2613" y="28"/>
                    <a:pt x="1911" y="11"/>
                  </a:cubicBezTo>
                  <a:cubicBezTo>
                    <a:pt x="1869" y="4"/>
                    <a:pt x="1828" y="0"/>
                    <a:pt x="178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" name="Google Shape;1055;p34"/>
            <p:cNvSpPr/>
            <p:nvPr/>
          </p:nvSpPr>
          <p:spPr>
            <a:xfrm>
              <a:off x="5608496" y="4587877"/>
              <a:ext cx="21986" cy="3429"/>
            </a:xfrm>
            <a:custGeom>
              <a:avLst/>
              <a:gdLst/>
              <a:ahLst/>
              <a:cxnLst/>
              <a:rect l="l" t="t" r="r" b="b"/>
              <a:pathLst>
                <a:path w="686" h="107" extrusionOk="0">
                  <a:moveTo>
                    <a:pt x="1" y="1"/>
                  </a:moveTo>
                  <a:lnTo>
                    <a:pt x="1" y="1"/>
                  </a:lnTo>
                  <a:cubicBezTo>
                    <a:pt x="134" y="73"/>
                    <a:pt x="281" y="107"/>
                    <a:pt x="424" y="107"/>
                  </a:cubicBezTo>
                  <a:cubicBezTo>
                    <a:pt x="514" y="107"/>
                    <a:pt x="602" y="93"/>
                    <a:pt x="686" y="68"/>
                  </a:cubicBezTo>
                  <a:cubicBezTo>
                    <a:pt x="469" y="51"/>
                    <a:pt x="235" y="18"/>
                    <a:pt x="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" name="Google Shape;1056;p34"/>
            <p:cNvSpPr/>
            <p:nvPr/>
          </p:nvSpPr>
          <p:spPr>
            <a:xfrm>
              <a:off x="5642245" y="4594447"/>
              <a:ext cx="35383" cy="19166"/>
            </a:xfrm>
            <a:custGeom>
              <a:avLst/>
              <a:gdLst/>
              <a:ahLst/>
              <a:cxnLst/>
              <a:rect l="l" t="t" r="r" b="b"/>
              <a:pathLst>
                <a:path w="1104" h="598" extrusionOk="0">
                  <a:moveTo>
                    <a:pt x="735" y="67"/>
                  </a:moveTo>
                  <a:cubicBezTo>
                    <a:pt x="829" y="67"/>
                    <a:pt x="922" y="90"/>
                    <a:pt x="1003" y="130"/>
                  </a:cubicBezTo>
                  <a:cubicBezTo>
                    <a:pt x="1053" y="180"/>
                    <a:pt x="1036" y="247"/>
                    <a:pt x="970" y="280"/>
                  </a:cubicBezTo>
                  <a:cubicBezTo>
                    <a:pt x="903" y="314"/>
                    <a:pt x="819" y="347"/>
                    <a:pt x="752" y="364"/>
                  </a:cubicBezTo>
                  <a:cubicBezTo>
                    <a:pt x="619" y="414"/>
                    <a:pt x="502" y="431"/>
                    <a:pt x="368" y="464"/>
                  </a:cubicBezTo>
                  <a:cubicBezTo>
                    <a:pt x="254" y="480"/>
                    <a:pt x="164" y="485"/>
                    <a:pt x="101" y="487"/>
                  </a:cubicBezTo>
                  <a:lnTo>
                    <a:pt x="101" y="487"/>
                  </a:lnTo>
                  <a:cubicBezTo>
                    <a:pt x="137" y="415"/>
                    <a:pt x="178" y="348"/>
                    <a:pt x="234" y="280"/>
                  </a:cubicBezTo>
                  <a:cubicBezTo>
                    <a:pt x="318" y="197"/>
                    <a:pt x="435" y="130"/>
                    <a:pt x="552" y="97"/>
                  </a:cubicBezTo>
                  <a:cubicBezTo>
                    <a:pt x="611" y="77"/>
                    <a:pt x="673" y="67"/>
                    <a:pt x="735" y="67"/>
                  </a:cubicBezTo>
                  <a:close/>
                  <a:moveTo>
                    <a:pt x="718" y="0"/>
                  </a:moveTo>
                  <a:cubicBezTo>
                    <a:pt x="522" y="0"/>
                    <a:pt x="330" y="86"/>
                    <a:pt x="201" y="247"/>
                  </a:cubicBezTo>
                  <a:cubicBezTo>
                    <a:pt x="137" y="327"/>
                    <a:pt x="88" y="408"/>
                    <a:pt x="69" y="488"/>
                  </a:cubicBezTo>
                  <a:lnTo>
                    <a:pt x="69" y="488"/>
                  </a:lnTo>
                  <a:cubicBezTo>
                    <a:pt x="24" y="489"/>
                    <a:pt x="1" y="491"/>
                    <a:pt x="1" y="498"/>
                  </a:cubicBezTo>
                  <a:cubicBezTo>
                    <a:pt x="21" y="500"/>
                    <a:pt x="42" y="503"/>
                    <a:pt x="63" y="506"/>
                  </a:cubicBezTo>
                  <a:lnTo>
                    <a:pt x="63" y="506"/>
                  </a:lnTo>
                  <a:cubicBezTo>
                    <a:pt x="51" y="537"/>
                    <a:pt x="51" y="567"/>
                    <a:pt x="51" y="598"/>
                  </a:cubicBezTo>
                  <a:cubicBezTo>
                    <a:pt x="64" y="567"/>
                    <a:pt x="77" y="538"/>
                    <a:pt x="90" y="510"/>
                  </a:cubicBezTo>
                  <a:lnTo>
                    <a:pt x="90" y="510"/>
                  </a:lnTo>
                  <a:cubicBezTo>
                    <a:pt x="147" y="516"/>
                    <a:pt x="205" y="521"/>
                    <a:pt x="262" y="521"/>
                  </a:cubicBezTo>
                  <a:cubicBezTo>
                    <a:pt x="298" y="521"/>
                    <a:pt x="334" y="519"/>
                    <a:pt x="368" y="514"/>
                  </a:cubicBezTo>
                  <a:cubicBezTo>
                    <a:pt x="502" y="498"/>
                    <a:pt x="635" y="464"/>
                    <a:pt x="769" y="431"/>
                  </a:cubicBezTo>
                  <a:cubicBezTo>
                    <a:pt x="853" y="414"/>
                    <a:pt x="919" y="381"/>
                    <a:pt x="1003" y="347"/>
                  </a:cubicBezTo>
                  <a:cubicBezTo>
                    <a:pt x="1053" y="314"/>
                    <a:pt x="1087" y="280"/>
                    <a:pt x="1103" y="230"/>
                  </a:cubicBezTo>
                  <a:cubicBezTo>
                    <a:pt x="1103" y="180"/>
                    <a:pt x="1087" y="113"/>
                    <a:pt x="1036" y="80"/>
                  </a:cubicBezTo>
                  <a:cubicBezTo>
                    <a:pt x="935" y="26"/>
                    <a:pt x="826" y="0"/>
                    <a:pt x="71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" name="Google Shape;1057;p34"/>
            <p:cNvSpPr/>
            <p:nvPr/>
          </p:nvSpPr>
          <p:spPr>
            <a:xfrm>
              <a:off x="5629937" y="4587364"/>
              <a:ext cx="17692" cy="23589"/>
            </a:xfrm>
            <a:custGeom>
              <a:avLst/>
              <a:gdLst/>
              <a:ahLst/>
              <a:cxnLst/>
              <a:rect l="l" t="t" r="r" b="b"/>
              <a:pathLst>
                <a:path w="552" h="736" extrusionOk="0">
                  <a:moveTo>
                    <a:pt x="134" y="0"/>
                  </a:moveTo>
                  <a:cubicBezTo>
                    <a:pt x="50" y="17"/>
                    <a:pt x="0" y="100"/>
                    <a:pt x="17" y="184"/>
                  </a:cubicBezTo>
                  <a:cubicBezTo>
                    <a:pt x="17" y="234"/>
                    <a:pt x="34" y="301"/>
                    <a:pt x="67" y="351"/>
                  </a:cubicBezTo>
                  <a:cubicBezTo>
                    <a:pt x="117" y="435"/>
                    <a:pt x="167" y="501"/>
                    <a:pt x="234" y="568"/>
                  </a:cubicBezTo>
                  <a:cubicBezTo>
                    <a:pt x="301" y="635"/>
                    <a:pt x="368" y="702"/>
                    <a:pt x="451" y="735"/>
                  </a:cubicBezTo>
                  <a:cubicBezTo>
                    <a:pt x="451" y="719"/>
                    <a:pt x="368" y="668"/>
                    <a:pt x="284" y="535"/>
                  </a:cubicBezTo>
                  <a:cubicBezTo>
                    <a:pt x="217" y="468"/>
                    <a:pt x="167" y="401"/>
                    <a:pt x="134" y="318"/>
                  </a:cubicBezTo>
                  <a:cubicBezTo>
                    <a:pt x="84" y="234"/>
                    <a:pt x="50" y="84"/>
                    <a:pt x="151" y="84"/>
                  </a:cubicBezTo>
                  <a:cubicBezTo>
                    <a:pt x="157" y="82"/>
                    <a:pt x="163" y="82"/>
                    <a:pt x="170" y="82"/>
                  </a:cubicBezTo>
                  <a:cubicBezTo>
                    <a:pt x="249" y="82"/>
                    <a:pt x="338" y="172"/>
                    <a:pt x="385" y="234"/>
                  </a:cubicBezTo>
                  <a:cubicBezTo>
                    <a:pt x="435" y="318"/>
                    <a:pt x="468" y="401"/>
                    <a:pt x="485" y="485"/>
                  </a:cubicBezTo>
                  <a:cubicBezTo>
                    <a:pt x="485" y="568"/>
                    <a:pt x="485" y="652"/>
                    <a:pt x="485" y="735"/>
                  </a:cubicBezTo>
                  <a:cubicBezTo>
                    <a:pt x="535" y="668"/>
                    <a:pt x="552" y="568"/>
                    <a:pt x="535" y="485"/>
                  </a:cubicBezTo>
                  <a:cubicBezTo>
                    <a:pt x="518" y="384"/>
                    <a:pt x="485" y="284"/>
                    <a:pt x="435" y="201"/>
                  </a:cubicBezTo>
                  <a:cubicBezTo>
                    <a:pt x="385" y="100"/>
                    <a:pt x="268" y="17"/>
                    <a:pt x="13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" name="Google Shape;1058;p34"/>
            <p:cNvSpPr/>
            <p:nvPr/>
          </p:nvSpPr>
          <p:spPr>
            <a:xfrm>
              <a:off x="5444656" y="4591242"/>
              <a:ext cx="64805" cy="55575"/>
            </a:xfrm>
            <a:custGeom>
              <a:avLst/>
              <a:gdLst/>
              <a:ahLst/>
              <a:cxnLst/>
              <a:rect l="l" t="t" r="r" b="b"/>
              <a:pathLst>
                <a:path w="2022" h="1734" extrusionOk="0">
                  <a:moveTo>
                    <a:pt x="276" y="0"/>
                  </a:moveTo>
                  <a:cubicBezTo>
                    <a:pt x="221" y="0"/>
                    <a:pt x="167" y="4"/>
                    <a:pt x="117" y="13"/>
                  </a:cubicBezTo>
                  <a:cubicBezTo>
                    <a:pt x="67" y="13"/>
                    <a:pt x="33" y="29"/>
                    <a:pt x="0" y="29"/>
                  </a:cubicBezTo>
                  <a:cubicBezTo>
                    <a:pt x="0" y="46"/>
                    <a:pt x="167" y="29"/>
                    <a:pt x="418" y="63"/>
                  </a:cubicBezTo>
                  <a:cubicBezTo>
                    <a:pt x="1120" y="163"/>
                    <a:pt x="1704" y="648"/>
                    <a:pt x="1905" y="1316"/>
                  </a:cubicBezTo>
                  <a:cubicBezTo>
                    <a:pt x="1988" y="1567"/>
                    <a:pt x="1988" y="1734"/>
                    <a:pt x="2005" y="1734"/>
                  </a:cubicBezTo>
                  <a:cubicBezTo>
                    <a:pt x="2005" y="1700"/>
                    <a:pt x="2022" y="1667"/>
                    <a:pt x="2005" y="1617"/>
                  </a:cubicBezTo>
                  <a:cubicBezTo>
                    <a:pt x="2005" y="1517"/>
                    <a:pt x="1988" y="1416"/>
                    <a:pt x="1955" y="1299"/>
                  </a:cubicBezTo>
                  <a:cubicBezTo>
                    <a:pt x="1771" y="598"/>
                    <a:pt x="1153" y="96"/>
                    <a:pt x="434" y="13"/>
                  </a:cubicBezTo>
                  <a:cubicBezTo>
                    <a:pt x="384" y="4"/>
                    <a:pt x="330" y="0"/>
                    <a:pt x="27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" name="Google Shape;1059;p34"/>
            <p:cNvSpPr/>
            <p:nvPr/>
          </p:nvSpPr>
          <p:spPr>
            <a:xfrm>
              <a:off x="5462316" y="4515604"/>
              <a:ext cx="4327" cy="76600"/>
            </a:xfrm>
            <a:custGeom>
              <a:avLst/>
              <a:gdLst/>
              <a:ahLst/>
              <a:cxnLst/>
              <a:rect l="l" t="t" r="r" b="b"/>
              <a:pathLst>
                <a:path w="135" h="2390" extrusionOk="0">
                  <a:moveTo>
                    <a:pt x="117" y="0"/>
                  </a:moveTo>
                  <a:lnTo>
                    <a:pt x="117" y="0"/>
                  </a:lnTo>
                  <a:cubicBezTo>
                    <a:pt x="34" y="785"/>
                    <a:pt x="0" y="1587"/>
                    <a:pt x="17" y="2389"/>
                  </a:cubicBezTo>
                  <a:cubicBezTo>
                    <a:pt x="101" y="1587"/>
                    <a:pt x="134" y="802"/>
                    <a:pt x="11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" name="Google Shape;1060;p34"/>
            <p:cNvSpPr/>
            <p:nvPr/>
          </p:nvSpPr>
          <p:spPr>
            <a:xfrm>
              <a:off x="5532986" y="4630568"/>
              <a:ext cx="54132" cy="3814"/>
            </a:xfrm>
            <a:custGeom>
              <a:avLst/>
              <a:gdLst/>
              <a:ahLst/>
              <a:cxnLst/>
              <a:rect l="l" t="t" r="r" b="b"/>
              <a:pathLst>
                <a:path w="1689" h="119" extrusionOk="0">
                  <a:moveTo>
                    <a:pt x="41" y="1"/>
                  </a:moveTo>
                  <a:cubicBezTo>
                    <a:pt x="15" y="1"/>
                    <a:pt x="1" y="2"/>
                    <a:pt x="1" y="5"/>
                  </a:cubicBezTo>
                  <a:cubicBezTo>
                    <a:pt x="344" y="78"/>
                    <a:pt x="700" y="119"/>
                    <a:pt x="1053" y="119"/>
                  </a:cubicBezTo>
                  <a:cubicBezTo>
                    <a:pt x="1267" y="119"/>
                    <a:pt x="1480" y="104"/>
                    <a:pt x="1689" y="72"/>
                  </a:cubicBezTo>
                  <a:cubicBezTo>
                    <a:pt x="1689" y="56"/>
                    <a:pt x="1321" y="56"/>
                    <a:pt x="853" y="39"/>
                  </a:cubicBezTo>
                  <a:cubicBezTo>
                    <a:pt x="475" y="25"/>
                    <a:pt x="151" y="1"/>
                    <a:pt x="4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" name="Google Shape;1061;p34"/>
            <p:cNvSpPr/>
            <p:nvPr/>
          </p:nvSpPr>
          <p:spPr>
            <a:xfrm>
              <a:off x="5496064" y="4629542"/>
              <a:ext cx="5897" cy="10865"/>
            </a:xfrm>
            <a:custGeom>
              <a:avLst/>
              <a:gdLst/>
              <a:ahLst/>
              <a:cxnLst/>
              <a:rect l="l" t="t" r="r" b="b"/>
              <a:pathLst>
                <a:path w="184" h="339" extrusionOk="0">
                  <a:moveTo>
                    <a:pt x="25" y="1"/>
                  </a:moveTo>
                  <a:cubicBezTo>
                    <a:pt x="22" y="1"/>
                    <a:pt x="19" y="2"/>
                    <a:pt x="17" y="4"/>
                  </a:cubicBezTo>
                  <a:cubicBezTo>
                    <a:pt x="0" y="4"/>
                    <a:pt x="50" y="71"/>
                    <a:pt x="84" y="171"/>
                  </a:cubicBezTo>
                  <a:cubicBezTo>
                    <a:pt x="117" y="255"/>
                    <a:pt x="134" y="338"/>
                    <a:pt x="150" y="338"/>
                  </a:cubicBezTo>
                  <a:cubicBezTo>
                    <a:pt x="184" y="322"/>
                    <a:pt x="184" y="238"/>
                    <a:pt x="150" y="138"/>
                  </a:cubicBezTo>
                  <a:cubicBezTo>
                    <a:pt x="107" y="50"/>
                    <a:pt x="50" y="1"/>
                    <a:pt x="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" name="Google Shape;1062;p34"/>
            <p:cNvSpPr/>
            <p:nvPr/>
          </p:nvSpPr>
          <p:spPr>
            <a:xfrm>
              <a:off x="5483212" y="4611850"/>
              <a:ext cx="7500" cy="7275"/>
            </a:xfrm>
            <a:custGeom>
              <a:avLst/>
              <a:gdLst/>
              <a:ahLst/>
              <a:cxnLst/>
              <a:rect l="l" t="t" r="r" b="b"/>
              <a:pathLst>
                <a:path w="234" h="227" extrusionOk="0">
                  <a:moveTo>
                    <a:pt x="13" y="0"/>
                  </a:moveTo>
                  <a:cubicBezTo>
                    <a:pt x="7" y="0"/>
                    <a:pt x="3" y="2"/>
                    <a:pt x="0" y="5"/>
                  </a:cubicBezTo>
                  <a:cubicBezTo>
                    <a:pt x="0" y="21"/>
                    <a:pt x="33" y="72"/>
                    <a:pt x="84" y="138"/>
                  </a:cubicBezTo>
                  <a:cubicBezTo>
                    <a:pt x="139" y="194"/>
                    <a:pt x="183" y="226"/>
                    <a:pt x="206" y="226"/>
                  </a:cubicBezTo>
                  <a:cubicBezTo>
                    <a:pt x="211" y="226"/>
                    <a:pt x="214" y="225"/>
                    <a:pt x="217" y="222"/>
                  </a:cubicBezTo>
                  <a:cubicBezTo>
                    <a:pt x="234" y="222"/>
                    <a:pt x="201" y="155"/>
                    <a:pt x="134" y="88"/>
                  </a:cubicBezTo>
                  <a:cubicBezTo>
                    <a:pt x="92" y="33"/>
                    <a:pt x="39" y="0"/>
                    <a:pt x="1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" name="Google Shape;1063;p34"/>
            <p:cNvSpPr/>
            <p:nvPr/>
          </p:nvSpPr>
          <p:spPr>
            <a:xfrm>
              <a:off x="5463918" y="4602428"/>
              <a:ext cx="11282" cy="4872"/>
            </a:xfrm>
            <a:custGeom>
              <a:avLst/>
              <a:gdLst/>
              <a:ahLst/>
              <a:cxnLst/>
              <a:rect l="l" t="t" r="r" b="b"/>
              <a:pathLst>
                <a:path w="352" h="152" extrusionOk="0">
                  <a:moveTo>
                    <a:pt x="103" y="0"/>
                  </a:moveTo>
                  <a:cubicBezTo>
                    <a:pt x="40" y="0"/>
                    <a:pt x="1" y="20"/>
                    <a:pt x="1" y="31"/>
                  </a:cubicBezTo>
                  <a:cubicBezTo>
                    <a:pt x="1" y="48"/>
                    <a:pt x="84" y="48"/>
                    <a:pt x="168" y="81"/>
                  </a:cubicBezTo>
                  <a:cubicBezTo>
                    <a:pt x="240" y="110"/>
                    <a:pt x="299" y="152"/>
                    <a:pt x="325" y="152"/>
                  </a:cubicBezTo>
                  <a:cubicBezTo>
                    <a:pt x="329" y="152"/>
                    <a:pt x="332" y="151"/>
                    <a:pt x="335" y="148"/>
                  </a:cubicBezTo>
                  <a:cubicBezTo>
                    <a:pt x="351" y="148"/>
                    <a:pt x="301" y="65"/>
                    <a:pt x="201" y="15"/>
                  </a:cubicBezTo>
                  <a:cubicBezTo>
                    <a:pt x="165" y="4"/>
                    <a:pt x="132" y="0"/>
                    <a:pt x="10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" name="Google Shape;1064;p34"/>
            <p:cNvSpPr/>
            <p:nvPr/>
          </p:nvSpPr>
          <p:spPr>
            <a:xfrm>
              <a:off x="5450009" y="4598902"/>
              <a:ext cx="5897" cy="3333"/>
            </a:xfrm>
            <a:custGeom>
              <a:avLst/>
              <a:gdLst/>
              <a:ahLst/>
              <a:cxnLst/>
              <a:rect l="l" t="t" r="r" b="b"/>
              <a:pathLst>
                <a:path w="184" h="104" extrusionOk="0">
                  <a:moveTo>
                    <a:pt x="19" y="1"/>
                  </a:moveTo>
                  <a:cubicBezTo>
                    <a:pt x="11" y="1"/>
                    <a:pt x="5" y="3"/>
                    <a:pt x="0" y="8"/>
                  </a:cubicBezTo>
                  <a:cubicBezTo>
                    <a:pt x="0" y="41"/>
                    <a:pt x="34" y="58"/>
                    <a:pt x="84" y="91"/>
                  </a:cubicBezTo>
                  <a:cubicBezTo>
                    <a:pt x="109" y="100"/>
                    <a:pt x="130" y="104"/>
                    <a:pt x="146" y="104"/>
                  </a:cubicBezTo>
                  <a:cubicBezTo>
                    <a:pt x="163" y="104"/>
                    <a:pt x="176" y="100"/>
                    <a:pt x="184" y="91"/>
                  </a:cubicBezTo>
                  <a:cubicBezTo>
                    <a:pt x="184" y="75"/>
                    <a:pt x="151" y="41"/>
                    <a:pt x="100" y="24"/>
                  </a:cubicBezTo>
                  <a:cubicBezTo>
                    <a:pt x="65" y="13"/>
                    <a:pt x="38" y="1"/>
                    <a:pt x="1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" name="Google Shape;1065;p34"/>
            <p:cNvSpPr/>
            <p:nvPr/>
          </p:nvSpPr>
          <p:spPr>
            <a:xfrm>
              <a:off x="5444111" y="4567525"/>
              <a:ext cx="186916" cy="22531"/>
            </a:xfrm>
            <a:custGeom>
              <a:avLst/>
              <a:gdLst/>
              <a:ahLst/>
              <a:cxnLst/>
              <a:rect l="l" t="t" r="r" b="b"/>
              <a:pathLst>
                <a:path w="5832" h="703" extrusionOk="0">
                  <a:moveTo>
                    <a:pt x="5832" y="1"/>
                  </a:moveTo>
                  <a:lnTo>
                    <a:pt x="0" y="252"/>
                  </a:lnTo>
                  <a:lnTo>
                    <a:pt x="34" y="619"/>
                  </a:lnTo>
                  <a:lnTo>
                    <a:pt x="5815" y="703"/>
                  </a:lnTo>
                  <a:lnTo>
                    <a:pt x="5832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" name="Google Shape;1066;p34"/>
            <p:cNvSpPr/>
            <p:nvPr/>
          </p:nvSpPr>
          <p:spPr>
            <a:xfrm>
              <a:off x="5735959" y="4522559"/>
              <a:ext cx="344890" cy="152526"/>
            </a:xfrm>
            <a:custGeom>
              <a:avLst/>
              <a:gdLst/>
              <a:ahLst/>
              <a:cxnLst/>
              <a:rect l="l" t="t" r="r" b="b"/>
              <a:pathLst>
                <a:path w="10761" h="4759" extrusionOk="0">
                  <a:moveTo>
                    <a:pt x="34" y="0"/>
                  </a:moveTo>
                  <a:lnTo>
                    <a:pt x="1" y="4528"/>
                  </a:lnTo>
                  <a:lnTo>
                    <a:pt x="351" y="4562"/>
                  </a:lnTo>
                  <a:cubicBezTo>
                    <a:pt x="1407" y="4617"/>
                    <a:pt x="4606" y="4759"/>
                    <a:pt x="6974" y="4759"/>
                  </a:cubicBezTo>
                  <a:cubicBezTo>
                    <a:pt x="8204" y="4759"/>
                    <a:pt x="9209" y="4720"/>
                    <a:pt x="9575" y="4612"/>
                  </a:cubicBezTo>
                  <a:cubicBezTo>
                    <a:pt x="10761" y="4244"/>
                    <a:pt x="5849" y="3125"/>
                    <a:pt x="5849" y="3125"/>
                  </a:cubicBezTo>
                  <a:lnTo>
                    <a:pt x="5832" y="17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" name="Google Shape;1067;p34"/>
            <p:cNvSpPr/>
            <p:nvPr/>
          </p:nvSpPr>
          <p:spPr>
            <a:xfrm>
              <a:off x="5735959" y="4643035"/>
              <a:ext cx="319731" cy="31569"/>
            </a:xfrm>
            <a:custGeom>
              <a:avLst/>
              <a:gdLst/>
              <a:ahLst/>
              <a:cxnLst/>
              <a:rect l="l" t="t" r="r" b="b"/>
              <a:pathLst>
                <a:path w="9976" h="985" extrusionOk="0">
                  <a:moveTo>
                    <a:pt x="8255" y="1"/>
                  </a:moveTo>
                  <a:cubicBezTo>
                    <a:pt x="7904" y="17"/>
                    <a:pt x="7737" y="736"/>
                    <a:pt x="7737" y="736"/>
                  </a:cubicBezTo>
                  <a:lnTo>
                    <a:pt x="17" y="636"/>
                  </a:lnTo>
                  <a:lnTo>
                    <a:pt x="1" y="769"/>
                  </a:lnTo>
                  <a:cubicBezTo>
                    <a:pt x="1529" y="909"/>
                    <a:pt x="4066" y="985"/>
                    <a:pt x="6170" y="985"/>
                  </a:cubicBezTo>
                  <a:cubicBezTo>
                    <a:pt x="8093" y="985"/>
                    <a:pt x="9655" y="922"/>
                    <a:pt x="9758" y="786"/>
                  </a:cubicBezTo>
                  <a:cubicBezTo>
                    <a:pt x="9976" y="502"/>
                    <a:pt x="8255" y="1"/>
                    <a:pt x="825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" name="Google Shape;1068;p34"/>
            <p:cNvSpPr/>
            <p:nvPr/>
          </p:nvSpPr>
          <p:spPr>
            <a:xfrm>
              <a:off x="5733267" y="4663387"/>
              <a:ext cx="315468" cy="5384"/>
            </a:xfrm>
            <a:custGeom>
              <a:avLst/>
              <a:gdLst/>
              <a:ahLst/>
              <a:cxnLst/>
              <a:rect l="l" t="t" r="r" b="b"/>
              <a:pathLst>
                <a:path w="9843" h="168" extrusionOk="0">
                  <a:moveTo>
                    <a:pt x="1" y="1"/>
                  </a:moveTo>
                  <a:cubicBezTo>
                    <a:pt x="34" y="17"/>
                    <a:pt x="68" y="17"/>
                    <a:pt x="101" y="17"/>
                  </a:cubicBezTo>
                  <a:lnTo>
                    <a:pt x="385" y="34"/>
                  </a:lnTo>
                  <a:lnTo>
                    <a:pt x="1438" y="84"/>
                  </a:lnTo>
                  <a:cubicBezTo>
                    <a:pt x="2323" y="118"/>
                    <a:pt x="3560" y="151"/>
                    <a:pt x="4913" y="168"/>
                  </a:cubicBezTo>
                  <a:cubicBezTo>
                    <a:pt x="6283" y="168"/>
                    <a:pt x="7503" y="151"/>
                    <a:pt x="8405" y="118"/>
                  </a:cubicBezTo>
                  <a:lnTo>
                    <a:pt x="9458" y="84"/>
                  </a:lnTo>
                  <a:lnTo>
                    <a:pt x="9742" y="68"/>
                  </a:lnTo>
                  <a:cubicBezTo>
                    <a:pt x="9775" y="68"/>
                    <a:pt x="9809" y="68"/>
                    <a:pt x="9842" y="51"/>
                  </a:cubicBezTo>
                  <a:lnTo>
                    <a:pt x="9458" y="51"/>
                  </a:lnTo>
                  <a:lnTo>
                    <a:pt x="8405" y="68"/>
                  </a:lnTo>
                  <a:cubicBezTo>
                    <a:pt x="7767" y="79"/>
                    <a:pt x="6971" y="91"/>
                    <a:pt x="6074" y="91"/>
                  </a:cubicBezTo>
                  <a:cubicBezTo>
                    <a:pt x="5703" y="91"/>
                    <a:pt x="5315" y="89"/>
                    <a:pt x="4913" y="84"/>
                  </a:cubicBezTo>
                  <a:cubicBezTo>
                    <a:pt x="3560" y="84"/>
                    <a:pt x="2340" y="51"/>
                    <a:pt x="1438" y="34"/>
                  </a:cubicBezTo>
                  <a:cubicBezTo>
                    <a:pt x="1020" y="17"/>
                    <a:pt x="669" y="17"/>
                    <a:pt x="38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" name="Google Shape;1069;p34"/>
            <p:cNvSpPr/>
            <p:nvPr/>
          </p:nvSpPr>
          <p:spPr>
            <a:xfrm>
              <a:off x="5982840" y="4640888"/>
              <a:ext cx="18749" cy="28973"/>
            </a:xfrm>
            <a:custGeom>
              <a:avLst/>
              <a:gdLst/>
              <a:ahLst/>
              <a:cxnLst/>
              <a:rect l="l" t="t" r="r" b="b"/>
              <a:pathLst>
                <a:path w="585" h="904" extrusionOk="0">
                  <a:moveTo>
                    <a:pt x="585" y="1"/>
                  </a:moveTo>
                  <a:lnTo>
                    <a:pt x="585" y="1"/>
                  </a:lnTo>
                  <a:cubicBezTo>
                    <a:pt x="234" y="151"/>
                    <a:pt x="0" y="519"/>
                    <a:pt x="34" y="903"/>
                  </a:cubicBezTo>
                  <a:cubicBezTo>
                    <a:pt x="100" y="536"/>
                    <a:pt x="301" y="218"/>
                    <a:pt x="58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" name="Google Shape;1070;p34"/>
            <p:cNvSpPr/>
            <p:nvPr/>
          </p:nvSpPr>
          <p:spPr>
            <a:xfrm>
              <a:off x="5928195" y="4626369"/>
              <a:ext cx="11282" cy="15160"/>
            </a:xfrm>
            <a:custGeom>
              <a:avLst/>
              <a:gdLst/>
              <a:ahLst/>
              <a:cxnLst/>
              <a:rect l="l" t="t" r="r" b="b"/>
              <a:pathLst>
                <a:path w="352" h="473" extrusionOk="0">
                  <a:moveTo>
                    <a:pt x="330" y="1"/>
                  </a:moveTo>
                  <a:cubicBezTo>
                    <a:pt x="306" y="1"/>
                    <a:pt x="229" y="96"/>
                    <a:pt x="151" y="220"/>
                  </a:cubicBezTo>
                  <a:cubicBezTo>
                    <a:pt x="68" y="354"/>
                    <a:pt x="1" y="471"/>
                    <a:pt x="18" y="471"/>
                  </a:cubicBezTo>
                  <a:cubicBezTo>
                    <a:pt x="19" y="472"/>
                    <a:pt x="20" y="472"/>
                    <a:pt x="22" y="472"/>
                  </a:cubicBezTo>
                  <a:cubicBezTo>
                    <a:pt x="47" y="472"/>
                    <a:pt x="124" y="377"/>
                    <a:pt x="201" y="253"/>
                  </a:cubicBezTo>
                  <a:cubicBezTo>
                    <a:pt x="285" y="120"/>
                    <a:pt x="352" y="3"/>
                    <a:pt x="335" y="3"/>
                  </a:cubicBezTo>
                  <a:cubicBezTo>
                    <a:pt x="334" y="2"/>
                    <a:pt x="332" y="1"/>
                    <a:pt x="33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" name="Google Shape;1071;p34"/>
            <p:cNvSpPr/>
            <p:nvPr/>
          </p:nvSpPr>
          <p:spPr>
            <a:xfrm>
              <a:off x="5913740" y="4623132"/>
              <a:ext cx="12371" cy="10416"/>
            </a:xfrm>
            <a:custGeom>
              <a:avLst/>
              <a:gdLst/>
              <a:ahLst/>
              <a:cxnLst/>
              <a:rect l="l" t="t" r="r" b="b"/>
              <a:pathLst>
                <a:path w="386" h="325" extrusionOk="0">
                  <a:moveTo>
                    <a:pt x="361" y="1"/>
                  </a:moveTo>
                  <a:cubicBezTo>
                    <a:pt x="334" y="1"/>
                    <a:pt x="258" y="62"/>
                    <a:pt x="168" y="137"/>
                  </a:cubicBezTo>
                  <a:cubicBezTo>
                    <a:pt x="68" y="221"/>
                    <a:pt x="1" y="321"/>
                    <a:pt x="1" y="321"/>
                  </a:cubicBezTo>
                  <a:cubicBezTo>
                    <a:pt x="3" y="323"/>
                    <a:pt x="6" y="324"/>
                    <a:pt x="11" y="324"/>
                  </a:cubicBezTo>
                  <a:cubicBezTo>
                    <a:pt x="43" y="324"/>
                    <a:pt x="130" y="275"/>
                    <a:pt x="218" y="187"/>
                  </a:cubicBezTo>
                  <a:cubicBezTo>
                    <a:pt x="318" y="104"/>
                    <a:pt x="385" y="20"/>
                    <a:pt x="368" y="4"/>
                  </a:cubicBezTo>
                  <a:cubicBezTo>
                    <a:pt x="367" y="2"/>
                    <a:pt x="364" y="1"/>
                    <a:pt x="36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" name="Google Shape;1072;p34"/>
            <p:cNvSpPr/>
            <p:nvPr/>
          </p:nvSpPr>
          <p:spPr>
            <a:xfrm>
              <a:off x="5904638" y="4615055"/>
              <a:ext cx="19326" cy="2436"/>
            </a:xfrm>
            <a:custGeom>
              <a:avLst/>
              <a:gdLst/>
              <a:ahLst/>
              <a:cxnLst/>
              <a:rect l="l" t="t" r="r" b="b"/>
              <a:pathLst>
                <a:path w="603" h="76" extrusionOk="0">
                  <a:moveTo>
                    <a:pt x="301" y="1"/>
                  </a:moveTo>
                  <a:cubicBezTo>
                    <a:pt x="201" y="1"/>
                    <a:pt x="101" y="13"/>
                    <a:pt x="1" y="38"/>
                  </a:cubicBezTo>
                  <a:cubicBezTo>
                    <a:pt x="101" y="63"/>
                    <a:pt x="201" y="76"/>
                    <a:pt x="301" y="76"/>
                  </a:cubicBezTo>
                  <a:cubicBezTo>
                    <a:pt x="402" y="76"/>
                    <a:pt x="502" y="63"/>
                    <a:pt x="602" y="38"/>
                  </a:cubicBezTo>
                  <a:cubicBezTo>
                    <a:pt x="502" y="13"/>
                    <a:pt x="402" y="1"/>
                    <a:pt x="3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" name="Google Shape;1073;p34"/>
            <p:cNvSpPr/>
            <p:nvPr/>
          </p:nvSpPr>
          <p:spPr>
            <a:xfrm>
              <a:off x="5901433" y="4603421"/>
              <a:ext cx="21986" cy="3429"/>
            </a:xfrm>
            <a:custGeom>
              <a:avLst/>
              <a:gdLst/>
              <a:ahLst/>
              <a:cxnLst/>
              <a:rect l="l" t="t" r="r" b="b"/>
              <a:pathLst>
                <a:path w="686" h="107" extrusionOk="0">
                  <a:moveTo>
                    <a:pt x="0" y="0"/>
                  </a:moveTo>
                  <a:cubicBezTo>
                    <a:pt x="124" y="72"/>
                    <a:pt x="266" y="106"/>
                    <a:pt x="412" y="106"/>
                  </a:cubicBezTo>
                  <a:cubicBezTo>
                    <a:pt x="503" y="106"/>
                    <a:pt x="595" y="93"/>
                    <a:pt x="686" y="67"/>
                  </a:cubicBezTo>
                  <a:cubicBezTo>
                    <a:pt x="569" y="50"/>
                    <a:pt x="452" y="34"/>
                    <a:pt x="335" y="34"/>
                  </a:cubicBezTo>
                  <a:cubicBezTo>
                    <a:pt x="218" y="17"/>
                    <a:pt x="117" y="0"/>
                    <a:pt x="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" name="Google Shape;1074;p34"/>
            <p:cNvSpPr/>
            <p:nvPr/>
          </p:nvSpPr>
          <p:spPr>
            <a:xfrm>
              <a:off x="5935182" y="4609062"/>
              <a:ext cx="35351" cy="19550"/>
            </a:xfrm>
            <a:custGeom>
              <a:avLst/>
              <a:gdLst/>
              <a:ahLst/>
              <a:cxnLst/>
              <a:rect l="l" t="t" r="r" b="b"/>
              <a:pathLst>
                <a:path w="1103" h="610" extrusionOk="0">
                  <a:moveTo>
                    <a:pt x="729" y="63"/>
                  </a:moveTo>
                  <a:cubicBezTo>
                    <a:pt x="821" y="63"/>
                    <a:pt x="912" y="85"/>
                    <a:pt x="1003" y="125"/>
                  </a:cubicBezTo>
                  <a:cubicBezTo>
                    <a:pt x="1053" y="175"/>
                    <a:pt x="1036" y="242"/>
                    <a:pt x="969" y="275"/>
                  </a:cubicBezTo>
                  <a:cubicBezTo>
                    <a:pt x="902" y="309"/>
                    <a:pt x="819" y="342"/>
                    <a:pt x="752" y="359"/>
                  </a:cubicBezTo>
                  <a:cubicBezTo>
                    <a:pt x="635" y="409"/>
                    <a:pt x="501" y="443"/>
                    <a:pt x="368" y="459"/>
                  </a:cubicBezTo>
                  <a:cubicBezTo>
                    <a:pt x="262" y="484"/>
                    <a:pt x="171" y="492"/>
                    <a:pt x="107" y="497"/>
                  </a:cubicBezTo>
                  <a:lnTo>
                    <a:pt x="107" y="497"/>
                  </a:lnTo>
                  <a:cubicBezTo>
                    <a:pt x="138" y="425"/>
                    <a:pt x="179" y="359"/>
                    <a:pt x="234" y="292"/>
                  </a:cubicBezTo>
                  <a:cubicBezTo>
                    <a:pt x="318" y="192"/>
                    <a:pt x="435" y="125"/>
                    <a:pt x="551" y="92"/>
                  </a:cubicBezTo>
                  <a:cubicBezTo>
                    <a:pt x="611" y="72"/>
                    <a:pt x="670" y="63"/>
                    <a:pt x="729" y="63"/>
                  </a:cubicBezTo>
                  <a:close/>
                  <a:moveTo>
                    <a:pt x="730" y="0"/>
                  </a:moveTo>
                  <a:cubicBezTo>
                    <a:pt x="525" y="0"/>
                    <a:pt x="322" y="93"/>
                    <a:pt x="201" y="259"/>
                  </a:cubicBezTo>
                  <a:cubicBezTo>
                    <a:pt x="137" y="339"/>
                    <a:pt x="103" y="419"/>
                    <a:pt x="71" y="499"/>
                  </a:cubicBezTo>
                  <a:lnTo>
                    <a:pt x="71" y="499"/>
                  </a:lnTo>
                  <a:cubicBezTo>
                    <a:pt x="26" y="501"/>
                    <a:pt x="0" y="502"/>
                    <a:pt x="0" y="509"/>
                  </a:cubicBezTo>
                  <a:cubicBezTo>
                    <a:pt x="23" y="512"/>
                    <a:pt x="45" y="515"/>
                    <a:pt x="67" y="516"/>
                  </a:cubicBezTo>
                  <a:lnTo>
                    <a:pt x="67" y="516"/>
                  </a:lnTo>
                  <a:cubicBezTo>
                    <a:pt x="65" y="548"/>
                    <a:pt x="51" y="579"/>
                    <a:pt x="67" y="610"/>
                  </a:cubicBezTo>
                  <a:cubicBezTo>
                    <a:pt x="76" y="578"/>
                    <a:pt x="86" y="548"/>
                    <a:pt x="98" y="519"/>
                  </a:cubicBezTo>
                  <a:lnTo>
                    <a:pt x="98" y="519"/>
                  </a:lnTo>
                  <a:cubicBezTo>
                    <a:pt x="130" y="521"/>
                    <a:pt x="161" y="522"/>
                    <a:pt x="192" y="522"/>
                  </a:cubicBezTo>
                  <a:cubicBezTo>
                    <a:pt x="255" y="522"/>
                    <a:pt x="318" y="518"/>
                    <a:pt x="384" y="509"/>
                  </a:cubicBezTo>
                  <a:cubicBezTo>
                    <a:pt x="518" y="493"/>
                    <a:pt x="652" y="459"/>
                    <a:pt x="769" y="426"/>
                  </a:cubicBezTo>
                  <a:cubicBezTo>
                    <a:pt x="852" y="409"/>
                    <a:pt x="936" y="376"/>
                    <a:pt x="1003" y="326"/>
                  </a:cubicBezTo>
                  <a:cubicBezTo>
                    <a:pt x="1053" y="309"/>
                    <a:pt x="1086" y="259"/>
                    <a:pt x="1103" y="225"/>
                  </a:cubicBezTo>
                  <a:cubicBezTo>
                    <a:pt x="1103" y="159"/>
                    <a:pt x="1086" y="108"/>
                    <a:pt x="1036" y="75"/>
                  </a:cubicBezTo>
                  <a:cubicBezTo>
                    <a:pt x="940" y="24"/>
                    <a:pt x="835" y="0"/>
                    <a:pt x="73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" name="Google Shape;1075;p34"/>
            <p:cNvSpPr/>
            <p:nvPr/>
          </p:nvSpPr>
          <p:spPr>
            <a:xfrm>
              <a:off x="5922329" y="4602876"/>
              <a:ext cx="18236" cy="23076"/>
            </a:xfrm>
            <a:custGeom>
              <a:avLst/>
              <a:gdLst/>
              <a:ahLst/>
              <a:cxnLst/>
              <a:rect l="l" t="t" r="r" b="b"/>
              <a:pathLst>
                <a:path w="569" h="720" extrusionOk="0">
                  <a:moveTo>
                    <a:pt x="134" y="1"/>
                  </a:moveTo>
                  <a:cubicBezTo>
                    <a:pt x="50" y="17"/>
                    <a:pt x="0" y="101"/>
                    <a:pt x="17" y="168"/>
                  </a:cubicBezTo>
                  <a:cubicBezTo>
                    <a:pt x="34" y="235"/>
                    <a:pt x="50" y="285"/>
                    <a:pt x="84" y="335"/>
                  </a:cubicBezTo>
                  <a:cubicBezTo>
                    <a:pt x="134" y="418"/>
                    <a:pt x="184" y="502"/>
                    <a:pt x="251" y="569"/>
                  </a:cubicBezTo>
                  <a:cubicBezTo>
                    <a:pt x="318" y="636"/>
                    <a:pt x="384" y="686"/>
                    <a:pt x="468" y="719"/>
                  </a:cubicBezTo>
                  <a:cubicBezTo>
                    <a:pt x="485" y="702"/>
                    <a:pt x="401" y="652"/>
                    <a:pt x="301" y="535"/>
                  </a:cubicBezTo>
                  <a:cubicBezTo>
                    <a:pt x="234" y="468"/>
                    <a:pt x="184" y="385"/>
                    <a:pt x="134" y="301"/>
                  </a:cubicBezTo>
                  <a:cubicBezTo>
                    <a:pt x="84" y="235"/>
                    <a:pt x="50" y="84"/>
                    <a:pt x="150" y="67"/>
                  </a:cubicBezTo>
                  <a:cubicBezTo>
                    <a:pt x="234" y="67"/>
                    <a:pt x="334" y="151"/>
                    <a:pt x="384" y="235"/>
                  </a:cubicBezTo>
                  <a:cubicBezTo>
                    <a:pt x="451" y="301"/>
                    <a:pt x="485" y="385"/>
                    <a:pt x="501" y="468"/>
                  </a:cubicBezTo>
                  <a:cubicBezTo>
                    <a:pt x="501" y="552"/>
                    <a:pt x="501" y="636"/>
                    <a:pt x="501" y="719"/>
                  </a:cubicBezTo>
                  <a:cubicBezTo>
                    <a:pt x="551" y="652"/>
                    <a:pt x="568" y="552"/>
                    <a:pt x="551" y="468"/>
                  </a:cubicBezTo>
                  <a:cubicBezTo>
                    <a:pt x="535" y="368"/>
                    <a:pt x="501" y="268"/>
                    <a:pt x="451" y="184"/>
                  </a:cubicBezTo>
                  <a:cubicBezTo>
                    <a:pt x="384" y="84"/>
                    <a:pt x="267" y="1"/>
                    <a:pt x="13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" name="Google Shape;1076;p34"/>
            <p:cNvSpPr/>
            <p:nvPr/>
          </p:nvSpPr>
          <p:spPr>
            <a:xfrm>
              <a:off x="5737016" y="4611434"/>
              <a:ext cx="66440" cy="54132"/>
            </a:xfrm>
            <a:custGeom>
              <a:avLst/>
              <a:gdLst/>
              <a:ahLst/>
              <a:cxnLst/>
              <a:rect l="l" t="t" r="r" b="b"/>
              <a:pathLst>
                <a:path w="2073" h="1689" extrusionOk="0">
                  <a:moveTo>
                    <a:pt x="435" y="1"/>
                  </a:moveTo>
                  <a:cubicBezTo>
                    <a:pt x="335" y="1"/>
                    <a:pt x="235" y="1"/>
                    <a:pt x="118" y="18"/>
                  </a:cubicBezTo>
                  <a:cubicBezTo>
                    <a:pt x="84" y="18"/>
                    <a:pt x="51" y="18"/>
                    <a:pt x="1" y="34"/>
                  </a:cubicBezTo>
                  <a:lnTo>
                    <a:pt x="18" y="34"/>
                  </a:lnTo>
                  <a:cubicBezTo>
                    <a:pt x="18" y="38"/>
                    <a:pt x="25" y="39"/>
                    <a:pt x="40" y="39"/>
                  </a:cubicBezTo>
                  <a:cubicBezTo>
                    <a:pt x="67" y="39"/>
                    <a:pt x="117" y="36"/>
                    <a:pt x="189" y="36"/>
                  </a:cubicBezTo>
                  <a:cubicBezTo>
                    <a:pt x="254" y="36"/>
                    <a:pt x="337" y="39"/>
                    <a:pt x="435" y="51"/>
                  </a:cubicBezTo>
                  <a:cubicBezTo>
                    <a:pt x="1137" y="135"/>
                    <a:pt x="1722" y="602"/>
                    <a:pt x="1956" y="1271"/>
                  </a:cubicBezTo>
                  <a:cubicBezTo>
                    <a:pt x="2039" y="1521"/>
                    <a:pt x="2039" y="1689"/>
                    <a:pt x="2056" y="1689"/>
                  </a:cubicBezTo>
                  <a:cubicBezTo>
                    <a:pt x="2073" y="1655"/>
                    <a:pt x="2073" y="1605"/>
                    <a:pt x="2056" y="1572"/>
                  </a:cubicBezTo>
                  <a:cubicBezTo>
                    <a:pt x="2056" y="1471"/>
                    <a:pt x="2023" y="1354"/>
                    <a:pt x="2006" y="1254"/>
                  </a:cubicBezTo>
                  <a:cubicBezTo>
                    <a:pt x="1789" y="552"/>
                    <a:pt x="1171" y="68"/>
                    <a:pt x="43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" name="Google Shape;1077;p34"/>
            <p:cNvSpPr/>
            <p:nvPr/>
          </p:nvSpPr>
          <p:spPr>
            <a:xfrm>
              <a:off x="5754708" y="4535411"/>
              <a:ext cx="3237" cy="76600"/>
            </a:xfrm>
            <a:custGeom>
              <a:avLst/>
              <a:gdLst/>
              <a:ahLst/>
              <a:cxnLst/>
              <a:rect l="l" t="t" r="r" b="b"/>
              <a:pathLst>
                <a:path w="101" h="2390" extrusionOk="0">
                  <a:moveTo>
                    <a:pt x="67" y="0"/>
                  </a:moveTo>
                  <a:lnTo>
                    <a:pt x="67" y="0"/>
                  </a:lnTo>
                  <a:cubicBezTo>
                    <a:pt x="17" y="786"/>
                    <a:pt x="0" y="1588"/>
                    <a:pt x="34" y="2390"/>
                  </a:cubicBezTo>
                  <a:cubicBezTo>
                    <a:pt x="84" y="1588"/>
                    <a:pt x="101" y="802"/>
                    <a:pt x="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" name="Google Shape;1078;p34"/>
            <p:cNvSpPr/>
            <p:nvPr/>
          </p:nvSpPr>
          <p:spPr>
            <a:xfrm>
              <a:off x="5826981" y="4648259"/>
              <a:ext cx="54132" cy="3397"/>
            </a:xfrm>
            <a:custGeom>
              <a:avLst/>
              <a:gdLst/>
              <a:ahLst/>
              <a:cxnLst/>
              <a:rect l="l" t="t" r="r" b="b"/>
              <a:pathLst>
                <a:path w="1689" h="106" extrusionOk="0">
                  <a:moveTo>
                    <a:pt x="43" y="0"/>
                  </a:moveTo>
                  <a:cubicBezTo>
                    <a:pt x="16" y="0"/>
                    <a:pt x="1" y="2"/>
                    <a:pt x="1" y="5"/>
                  </a:cubicBezTo>
                  <a:cubicBezTo>
                    <a:pt x="268" y="72"/>
                    <a:pt x="552" y="105"/>
                    <a:pt x="836" y="105"/>
                  </a:cubicBezTo>
                  <a:cubicBezTo>
                    <a:pt x="1120" y="105"/>
                    <a:pt x="1405" y="88"/>
                    <a:pt x="1689" y="38"/>
                  </a:cubicBezTo>
                  <a:cubicBezTo>
                    <a:pt x="1689" y="26"/>
                    <a:pt x="1636" y="23"/>
                    <a:pt x="1546" y="23"/>
                  </a:cubicBezTo>
                  <a:cubicBezTo>
                    <a:pt x="1448" y="23"/>
                    <a:pt x="1306" y="27"/>
                    <a:pt x="1138" y="27"/>
                  </a:cubicBezTo>
                  <a:cubicBezTo>
                    <a:pt x="1044" y="27"/>
                    <a:pt x="942" y="25"/>
                    <a:pt x="836" y="22"/>
                  </a:cubicBezTo>
                  <a:cubicBezTo>
                    <a:pt x="462" y="22"/>
                    <a:pt x="152" y="0"/>
                    <a:pt x="4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" name="Google Shape;1079;p34"/>
            <p:cNvSpPr/>
            <p:nvPr/>
          </p:nvSpPr>
          <p:spPr>
            <a:xfrm>
              <a:off x="5790059" y="4648291"/>
              <a:ext cx="5897" cy="10865"/>
            </a:xfrm>
            <a:custGeom>
              <a:avLst/>
              <a:gdLst/>
              <a:ahLst/>
              <a:cxnLst/>
              <a:rect l="l" t="t" r="r" b="b"/>
              <a:pathLst>
                <a:path w="184" h="339" extrusionOk="0">
                  <a:moveTo>
                    <a:pt x="21" y="1"/>
                  </a:moveTo>
                  <a:cubicBezTo>
                    <a:pt x="18" y="1"/>
                    <a:pt x="17" y="2"/>
                    <a:pt x="17" y="4"/>
                  </a:cubicBezTo>
                  <a:cubicBezTo>
                    <a:pt x="0" y="21"/>
                    <a:pt x="34" y="87"/>
                    <a:pt x="84" y="171"/>
                  </a:cubicBezTo>
                  <a:cubicBezTo>
                    <a:pt x="117" y="254"/>
                    <a:pt x="134" y="338"/>
                    <a:pt x="150" y="338"/>
                  </a:cubicBezTo>
                  <a:cubicBezTo>
                    <a:pt x="184" y="338"/>
                    <a:pt x="184" y="238"/>
                    <a:pt x="134" y="138"/>
                  </a:cubicBezTo>
                  <a:cubicBezTo>
                    <a:pt x="105" y="50"/>
                    <a:pt x="37" y="1"/>
                    <a:pt x="2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" name="Google Shape;1080;p34"/>
            <p:cNvSpPr/>
            <p:nvPr/>
          </p:nvSpPr>
          <p:spPr>
            <a:xfrm>
              <a:off x="5776117" y="4631112"/>
              <a:ext cx="8077" cy="7275"/>
            </a:xfrm>
            <a:custGeom>
              <a:avLst/>
              <a:gdLst/>
              <a:ahLst/>
              <a:cxnLst/>
              <a:rect l="l" t="t" r="r" b="b"/>
              <a:pathLst>
                <a:path w="252" h="227" extrusionOk="0">
                  <a:moveTo>
                    <a:pt x="29" y="1"/>
                  </a:moveTo>
                  <a:cubicBezTo>
                    <a:pt x="24" y="1"/>
                    <a:pt x="20" y="2"/>
                    <a:pt x="17" y="5"/>
                  </a:cubicBezTo>
                  <a:cubicBezTo>
                    <a:pt x="1" y="22"/>
                    <a:pt x="34" y="72"/>
                    <a:pt x="101" y="139"/>
                  </a:cubicBezTo>
                  <a:cubicBezTo>
                    <a:pt x="156" y="194"/>
                    <a:pt x="200" y="227"/>
                    <a:pt x="223" y="227"/>
                  </a:cubicBezTo>
                  <a:cubicBezTo>
                    <a:pt x="228" y="227"/>
                    <a:pt x="232" y="225"/>
                    <a:pt x="235" y="222"/>
                  </a:cubicBezTo>
                  <a:cubicBezTo>
                    <a:pt x="251" y="206"/>
                    <a:pt x="218" y="156"/>
                    <a:pt x="151" y="89"/>
                  </a:cubicBezTo>
                  <a:cubicBezTo>
                    <a:pt x="96" y="33"/>
                    <a:pt x="52" y="1"/>
                    <a:pt x="2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" name="Google Shape;1081;p34"/>
            <p:cNvSpPr/>
            <p:nvPr/>
          </p:nvSpPr>
          <p:spPr>
            <a:xfrm>
              <a:off x="5756855" y="4622235"/>
              <a:ext cx="11282" cy="4872"/>
            </a:xfrm>
            <a:custGeom>
              <a:avLst/>
              <a:gdLst/>
              <a:ahLst/>
              <a:cxnLst/>
              <a:rect l="l" t="t" r="r" b="b"/>
              <a:pathLst>
                <a:path w="352" h="152" extrusionOk="0">
                  <a:moveTo>
                    <a:pt x="103" y="1"/>
                  </a:moveTo>
                  <a:cubicBezTo>
                    <a:pt x="40" y="1"/>
                    <a:pt x="0" y="20"/>
                    <a:pt x="0" y="32"/>
                  </a:cubicBezTo>
                  <a:cubicBezTo>
                    <a:pt x="17" y="48"/>
                    <a:pt x="84" y="48"/>
                    <a:pt x="167" y="82"/>
                  </a:cubicBezTo>
                  <a:cubicBezTo>
                    <a:pt x="239" y="111"/>
                    <a:pt x="299" y="152"/>
                    <a:pt x="325" y="152"/>
                  </a:cubicBezTo>
                  <a:cubicBezTo>
                    <a:pt x="329" y="152"/>
                    <a:pt x="332" y="151"/>
                    <a:pt x="334" y="149"/>
                  </a:cubicBezTo>
                  <a:cubicBezTo>
                    <a:pt x="351" y="132"/>
                    <a:pt x="301" y="48"/>
                    <a:pt x="201" y="15"/>
                  </a:cubicBezTo>
                  <a:cubicBezTo>
                    <a:pt x="164" y="4"/>
                    <a:pt x="131" y="1"/>
                    <a:pt x="10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" name="Google Shape;1082;p34"/>
            <p:cNvSpPr/>
            <p:nvPr/>
          </p:nvSpPr>
          <p:spPr>
            <a:xfrm>
              <a:off x="5742914" y="4619094"/>
              <a:ext cx="5929" cy="2949"/>
            </a:xfrm>
            <a:custGeom>
              <a:avLst/>
              <a:gdLst/>
              <a:ahLst/>
              <a:cxnLst/>
              <a:rect l="l" t="t" r="r" b="b"/>
              <a:pathLst>
                <a:path w="185" h="92" extrusionOk="0">
                  <a:moveTo>
                    <a:pt x="38" y="0"/>
                  </a:moveTo>
                  <a:cubicBezTo>
                    <a:pt x="22" y="0"/>
                    <a:pt x="9" y="4"/>
                    <a:pt x="1" y="13"/>
                  </a:cubicBezTo>
                  <a:cubicBezTo>
                    <a:pt x="1" y="29"/>
                    <a:pt x="34" y="63"/>
                    <a:pt x="84" y="79"/>
                  </a:cubicBezTo>
                  <a:cubicBezTo>
                    <a:pt x="109" y="88"/>
                    <a:pt x="130" y="92"/>
                    <a:pt x="147" y="92"/>
                  </a:cubicBezTo>
                  <a:cubicBezTo>
                    <a:pt x="164" y="92"/>
                    <a:pt x="176" y="88"/>
                    <a:pt x="185" y="79"/>
                  </a:cubicBezTo>
                  <a:cubicBezTo>
                    <a:pt x="185" y="63"/>
                    <a:pt x="151" y="29"/>
                    <a:pt x="101" y="13"/>
                  </a:cubicBezTo>
                  <a:cubicBezTo>
                    <a:pt x="76" y="4"/>
                    <a:pt x="55" y="0"/>
                    <a:pt x="3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" name="Google Shape;1083;p34"/>
            <p:cNvSpPr/>
            <p:nvPr/>
          </p:nvSpPr>
          <p:spPr>
            <a:xfrm>
              <a:off x="5735959" y="4583069"/>
              <a:ext cx="187460" cy="24679"/>
            </a:xfrm>
            <a:custGeom>
              <a:avLst/>
              <a:gdLst/>
              <a:ahLst/>
              <a:cxnLst/>
              <a:rect l="l" t="t" r="r" b="b"/>
              <a:pathLst>
                <a:path w="5849" h="770" extrusionOk="0">
                  <a:moveTo>
                    <a:pt x="5832" y="0"/>
                  </a:moveTo>
                  <a:lnTo>
                    <a:pt x="1" y="401"/>
                  </a:lnTo>
                  <a:lnTo>
                    <a:pt x="51" y="769"/>
                  </a:lnTo>
                  <a:lnTo>
                    <a:pt x="5849" y="702"/>
                  </a:lnTo>
                  <a:lnTo>
                    <a:pt x="583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" name="Google Shape;1084;p34"/>
            <p:cNvSpPr/>
            <p:nvPr/>
          </p:nvSpPr>
          <p:spPr>
            <a:xfrm>
              <a:off x="5512666" y="2842145"/>
              <a:ext cx="625488" cy="377004"/>
            </a:xfrm>
            <a:custGeom>
              <a:avLst/>
              <a:gdLst/>
              <a:ahLst/>
              <a:cxnLst/>
              <a:rect l="l" t="t" r="r" b="b"/>
              <a:pathLst>
                <a:path w="19516" h="11763" extrusionOk="0">
                  <a:moveTo>
                    <a:pt x="4896" y="0"/>
                  </a:moveTo>
                  <a:lnTo>
                    <a:pt x="0" y="2556"/>
                  </a:lnTo>
                  <a:lnTo>
                    <a:pt x="2323" y="9557"/>
                  </a:lnTo>
                  <a:cubicBezTo>
                    <a:pt x="2957" y="11445"/>
                    <a:pt x="4612" y="11763"/>
                    <a:pt x="6600" y="11763"/>
                  </a:cubicBezTo>
                  <a:lnTo>
                    <a:pt x="19516" y="11763"/>
                  </a:lnTo>
                  <a:lnTo>
                    <a:pt x="19516" y="8856"/>
                  </a:lnTo>
                  <a:lnTo>
                    <a:pt x="7719" y="7185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" name="Google Shape;1085;p34"/>
            <p:cNvSpPr/>
            <p:nvPr/>
          </p:nvSpPr>
          <p:spPr>
            <a:xfrm>
              <a:off x="6138122" y="3025728"/>
              <a:ext cx="256560" cy="193422"/>
            </a:xfrm>
            <a:custGeom>
              <a:avLst/>
              <a:gdLst/>
              <a:ahLst/>
              <a:cxnLst/>
              <a:rect l="l" t="t" r="r" b="b"/>
              <a:pathLst>
                <a:path w="8005" h="6035" extrusionOk="0">
                  <a:moveTo>
                    <a:pt x="3778" y="1"/>
                  </a:moveTo>
                  <a:cubicBezTo>
                    <a:pt x="3501" y="1"/>
                    <a:pt x="2440" y="2041"/>
                    <a:pt x="2440" y="2041"/>
                  </a:cubicBezTo>
                  <a:lnTo>
                    <a:pt x="1421" y="2543"/>
                  </a:lnTo>
                  <a:lnTo>
                    <a:pt x="1" y="3128"/>
                  </a:lnTo>
                  <a:lnTo>
                    <a:pt x="1" y="6035"/>
                  </a:lnTo>
                  <a:lnTo>
                    <a:pt x="1571" y="5951"/>
                  </a:lnTo>
                  <a:lnTo>
                    <a:pt x="6584" y="4865"/>
                  </a:lnTo>
                  <a:cubicBezTo>
                    <a:pt x="6770" y="5040"/>
                    <a:pt x="6969" y="5097"/>
                    <a:pt x="7149" y="5097"/>
                  </a:cubicBezTo>
                  <a:cubicBezTo>
                    <a:pt x="7484" y="5097"/>
                    <a:pt x="7753" y="4899"/>
                    <a:pt x="7753" y="4899"/>
                  </a:cubicBezTo>
                  <a:lnTo>
                    <a:pt x="5832" y="3144"/>
                  </a:lnTo>
                  <a:lnTo>
                    <a:pt x="3777" y="2877"/>
                  </a:lnTo>
                  <a:lnTo>
                    <a:pt x="5364" y="2426"/>
                  </a:lnTo>
                  <a:cubicBezTo>
                    <a:pt x="5364" y="2426"/>
                    <a:pt x="6216" y="2810"/>
                    <a:pt x="6851" y="3144"/>
                  </a:cubicBezTo>
                  <a:cubicBezTo>
                    <a:pt x="7018" y="3232"/>
                    <a:pt x="7159" y="3267"/>
                    <a:pt x="7278" y="3267"/>
                  </a:cubicBezTo>
                  <a:cubicBezTo>
                    <a:pt x="7610" y="3267"/>
                    <a:pt x="7772" y="2996"/>
                    <a:pt x="7870" y="2860"/>
                  </a:cubicBezTo>
                  <a:cubicBezTo>
                    <a:pt x="8004" y="2676"/>
                    <a:pt x="5047" y="1306"/>
                    <a:pt x="5047" y="1306"/>
                  </a:cubicBezTo>
                  <a:lnTo>
                    <a:pt x="3677" y="1691"/>
                  </a:lnTo>
                  <a:cubicBezTo>
                    <a:pt x="4128" y="722"/>
                    <a:pt x="4061" y="87"/>
                    <a:pt x="3794" y="3"/>
                  </a:cubicBezTo>
                  <a:cubicBezTo>
                    <a:pt x="3789" y="1"/>
                    <a:pt x="3784" y="1"/>
                    <a:pt x="377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" name="Google Shape;1086;p34"/>
            <p:cNvSpPr/>
            <p:nvPr/>
          </p:nvSpPr>
          <p:spPr>
            <a:xfrm>
              <a:off x="6261835" y="3148896"/>
              <a:ext cx="87304" cy="32819"/>
            </a:xfrm>
            <a:custGeom>
              <a:avLst/>
              <a:gdLst/>
              <a:ahLst/>
              <a:cxnLst/>
              <a:rect l="l" t="t" r="r" b="b"/>
              <a:pathLst>
                <a:path w="2724" h="1024" extrusionOk="0">
                  <a:moveTo>
                    <a:pt x="154" y="0"/>
                  </a:moveTo>
                  <a:cubicBezTo>
                    <a:pt x="66" y="0"/>
                    <a:pt x="17" y="6"/>
                    <a:pt x="17" y="20"/>
                  </a:cubicBezTo>
                  <a:cubicBezTo>
                    <a:pt x="0" y="53"/>
                    <a:pt x="685" y="170"/>
                    <a:pt x="1521" y="270"/>
                  </a:cubicBezTo>
                  <a:cubicBezTo>
                    <a:pt x="1705" y="287"/>
                    <a:pt x="1888" y="337"/>
                    <a:pt x="2055" y="404"/>
                  </a:cubicBezTo>
                  <a:cubicBezTo>
                    <a:pt x="2189" y="488"/>
                    <a:pt x="2306" y="588"/>
                    <a:pt x="2423" y="688"/>
                  </a:cubicBezTo>
                  <a:cubicBezTo>
                    <a:pt x="2581" y="860"/>
                    <a:pt x="2665" y="995"/>
                    <a:pt x="2707" y="1020"/>
                  </a:cubicBezTo>
                  <a:lnTo>
                    <a:pt x="2707" y="1020"/>
                  </a:lnTo>
                  <a:cubicBezTo>
                    <a:pt x="2673" y="870"/>
                    <a:pt x="2606" y="738"/>
                    <a:pt x="2507" y="621"/>
                  </a:cubicBezTo>
                  <a:cubicBezTo>
                    <a:pt x="2406" y="488"/>
                    <a:pt x="2273" y="371"/>
                    <a:pt x="2122" y="287"/>
                  </a:cubicBezTo>
                  <a:cubicBezTo>
                    <a:pt x="1939" y="187"/>
                    <a:pt x="1738" y="137"/>
                    <a:pt x="1538" y="120"/>
                  </a:cubicBezTo>
                  <a:cubicBezTo>
                    <a:pt x="926" y="47"/>
                    <a:pt x="395" y="0"/>
                    <a:pt x="154" y="0"/>
                  </a:cubicBezTo>
                  <a:close/>
                  <a:moveTo>
                    <a:pt x="2707" y="1020"/>
                  </a:moveTo>
                  <a:cubicBezTo>
                    <a:pt x="2707" y="1021"/>
                    <a:pt x="2707" y="1021"/>
                    <a:pt x="2707" y="1022"/>
                  </a:cubicBezTo>
                  <a:lnTo>
                    <a:pt x="2712" y="1022"/>
                  </a:lnTo>
                  <a:cubicBezTo>
                    <a:pt x="2710" y="1022"/>
                    <a:pt x="2708" y="1021"/>
                    <a:pt x="2707" y="1020"/>
                  </a:cubicBezTo>
                  <a:close/>
                  <a:moveTo>
                    <a:pt x="2712" y="1022"/>
                  </a:moveTo>
                  <a:cubicBezTo>
                    <a:pt x="2714" y="1023"/>
                    <a:pt x="2716" y="1023"/>
                    <a:pt x="2718" y="1023"/>
                  </a:cubicBezTo>
                  <a:cubicBezTo>
                    <a:pt x="2720" y="1023"/>
                    <a:pt x="2722" y="1023"/>
                    <a:pt x="2724" y="1022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" name="Google Shape;1087;p34"/>
            <p:cNvSpPr/>
            <p:nvPr/>
          </p:nvSpPr>
          <p:spPr>
            <a:xfrm>
              <a:off x="6270392" y="3175786"/>
              <a:ext cx="54132" cy="12307"/>
            </a:xfrm>
            <a:custGeom>
              <a:avLst/>
              <a:gdLst/>
              <a:ahLst/>
              <a:cxnLst/>
              <a:rect l="l" t="t" r="r" b="b"/>
              <a:pathLst>
                <a:path w="1689" h="384" extrusionOk="0">
                  <a:moveTo>
                    <a:pt x="588" y="1"/>
                  </a:moveTo>
                  <a:cubicBezTo>
                    <a:pt x="244" y="1"/>
                    <a:pt x="1" y="57"/>
                    <a:pt x="1" y="83"/>
                  </a:cubicBezTo>
                  <a:cubicBezTo>
                    <a:pt x="1" y="133"/>
                    <a:pt x="402" y="133"/>
                    <a:pt x="886" y="183"/>
                  </a:cubicBezTo>
                  <a:cubicBezTo>
                    <a:pt x="1120" y="200"/>
                    <a:pt x="1354" y="233"/>
                    <a:pt x="1488" y="250"/>
                  </a:cubicBezTo>
                  <a:cubicBezTo>
                    <a:pt x="1638" y="283"/>
                    <a:pt x="1638" y="384"/>
                    <a:pt x="1672" y="384"/>
                  </a:cubicBezTo>
                  <a:cubicBezTo>
                    <a:pt x="1672" y="384"/>
                    <a:pt x="1688" y="367"/>
                    <a:pt x="1672" y="300"/>
                  </a:cubicBezTo>
                  <a:cubicBezTo>
                    <a:pt x="1655" y="233"/>
                    <a:pt x="1605" y="183"/>
                    <a:pt x="1521" y="150"/>
                  </a:cubicBezTo>
                  <a:cubicBezTo>
                    <a:pt x="1321" y="83"/>
                    <a:pt x="1103" y="33"/>
                    <a:pt x="903" y="16"/>
                  </a:cubicBezTo>
                  <a:cubicBezTo>
                    <a:pt x="792" y="5"/>
                    <a:pt x="686" y="1"/>
                    <a:pt x="588" y="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" name="Google Shape;1088;p34"/>
            <p:cNvSpPr/>
            <p:nvPr/>
          </p:nvSpPr>
          <p:spPr>
            <a:xfrm>
              <a:off x="5141015" y="1960162"/>
              <a:ext cx="320276" cy="516261"/>
            </a:xfrm>
            <a:custGeom>
              <a:avLst/>
              <a:gdLst/>
              <a:ahLst/>
              <a:cxnLst/>
              <a:rect l="l" t="t" r="r" b="b"/>
              <a:pathLst>
                <a:path w="9993" h="16108" extrusionOk="0">
                  <a:moveTo>
                    <a:pt x="9992" y="0"/>
                  </a:moveTo>
                  <a:lnTo>
                    <a:pt x="702" y="1320"/>
                  </a:lnTo>
                  <a:lnTo>
                    <a:pt x="0" y="15539"/>
                  </a:lnTo>
                  <a:lnTo>
                    <a:pt x="6082" y="16107"/>
                  </a:lnTo>
                  <a:lnTo>
                    <a:pt x="6416" y="12665"/>
                  </a:lnTo>
                  <a:cubicBezTo>
                    <a:pt x="6416" y="12665"/>
                    <a:pt x="6667" y="12726"/>
                    <a:pt x="7023" y="12726"/>
                  </a:cubicBezTo>
                  <a:cubicBezTo>
                    <a:pt x="7707" y="12726"/>
                    <a:pt x="8778" y="12502"/>
                    <a:pt x="9207" y="11195"/>
                  </a:cubicBezTo>
                  <a:cubicBezTo>
                    <a:pt x="9624" y="9942"/>
                    <a:pt x="9992" y="0"/>
                    <a:pt x="9992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" name="Google Shape;1089;p34"/>
            <p:cNvSpPr/>
            <p:nvPr/>
          </p:nvSpPr>
          <p:spPr>
            <a:xfrm>
              <a:off x="5081562" y="1900613"/>
              <a:ext cx="402195" cy="458700"/>
            </a:xfrm>
            <a:custGeom>
              <a:avLst/>
              <a:gdLst/>
              <a:ahLst/>
              <a:cxnLst/>
              <a:rect l="l" t="t" r="r" b="b"/>
              <a:pathLst>
                <a:path w="12549" h="14312" extrusionOk="0">
                  <a:moveTo>
                    <a:pt x="6330" y="1"/>
                  </a:moveTo>
                  <a:cubicBezTo>
                    <a:pt x="4946" y="1"/>
                    <a:pt x="946" y="432"/>
                    <a:pt x="285" y="5350"/>
                  </a:cubicBezTo>
                  <a:cubicBezTo>
                    <a:pt x="1" y="7455"/>
                    <a:pt x="1003" y="9143"/>
                    <a:pt x="1170" y="10430"/>
                  </a:cubicBezTo>
                  <a:cubicBezTo>
                    <a:pt x="1521" y="13120"/>
                    <a:pt x="1989" y="14256"/>
                    <a:pt x="1989" y="14256"/>
                  </a:cubicBezTo>
                  <a:lnTo>
                    <a:pt x="3309" y="14306"/>
                  </a:lnTo>
                  <a:cubicBezTo>
                    <a:pt x="3431" y="14309"/>
                    <a:pt x="3548" y="14311"/>
                    <a:pt x="3659" y="14311"/>
                  </a:cubicBezTo>
                  <a:cubicBezTo>
                    <a:pt x="4658" y="14311"/>
                    <a:pt x="5264" y="14137"/>
                    <a:pt x="6316" y="13070"/>
                  </a:cubicBezTo>
                  <a:cubicBezTo>
                    <a:pt x="7403" y="11967"/>
                    <a:pt x="7703" y="11349"/>
                    <a:pt x="8472" y="10196"/>
                  </a:cubicBezTo>
                  <a:cubicBezTo>
                    <a:pt x="8472" y="10196"/>
                    <a:pt x="7369" y="9544"/>
                    <a:pt x="7553" y="8575"/>
                  </a:cubicBezTo>
                  <a:cubicBezTo>
                    <a:pt x="7647" y="8064"/>
                    <a:pt x="8188" y="7739"/>
                    <a:pt x="8676" y="7739"/>
                  </a:cubicBezTo>
                  <a:cubicBezTo>
                    <a:pt x="9145" y="7739"/>
                    <a:pt x="9565" y="8038"/>
                    <a:pt x="9491" y="8759"/>
                  </a:cubicBezTo>
                  <a:cubicBezTo>
                    <a:pt x="9633" y="8750"/>
                    <a:pt x="9779" y="8746"/>
                    <a:pt x="9926" y="8746"/>
                  </a:cubicBezTo>
                  <a:cubicBezTo>
                    <a:pt x="10072" y="8746"/>
                    <a:pt x="10218" y="8750"/>
                    <a:pt x="10360" y="8759"/>
                  </a:cubicBezTo>
                  <a:lnTo>
                    <a:pt x="10694" y="5618"/>
                  </a:lnTo>
                  <a:cubicBezTo>
                    <a:pt x="10694" y="5618"/>
                    <a:pt x="12549" y="4849"/>
                    <a:pt x="12382" y="3512"/>
                  </a:cubicBezTo>
                  <a:cubicBezTo>
                    <a:pt x="11981" y="438"/>
                    <a:pt x="9775" y="104"/>
                    <a:pt x="6801" y="20"/>
                  </a:cubicBezTo>
                  <a:cubicBezTo>
                    <a:pt x="6801" y="20"/>
                    <a:pt x="6625" y="1"/>
                    <a:pt x="633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" name="Google Shape;1090;p34"/>
            <p:cNvSpPr/>
            <p:nvPr/>
          </p:nvSpPr>
          <p:spPr>
            <a:xfrm>
              <a:off x="5338090" y="1906606"/>
              <a:ext cx="184768" cy="148904"/>
            </a:xfrm>
            <a:custGeom>
              <a:avLst/>
              <a:gdLst/>
              <a:ahLst/>
              <a:cxnLst/>
              <a:rect l="l" t="t" r="r" b="b"/>
              <a:pathLst>
                <a:path w="5765" h="4646" extrusionOk="0">
                  <a:moveTo>
                    <a:pt x="0" y="0"/>
                  </a:moveTo>
                  <a:lnTo>
                    <a:pt x="2490" y="1888"/>
                  </a:lnTo>
                  <a:cubicBezTo>
                    <a:pt x="2991" y="2740"/>
                    <a:pt x="3325" y="3676"/>
                    <a:pt x="3492" y="4645"/>
                  </a:cubicBezTo>
                  <a:lnTo>
                    <a:pt x="4628" y="4328"/>
                  </a:lnTo>
                  <a:cubicBezTo>
                    <a:pt x="4628" y="4060"/>
                    <a:pt x="4628" y="3810"/>
                    <a:pt x="4612" y="3559"/>
                  </a:cubicBezTo>
                  <a:lnTo>
                    <a:pt x="4612" y="3559"/>
                  </a:lnTo>
                  <a:lnTo>
                    <a:pt x="4879" y="4044"/>
                  </a:lnTo>
                  <a:lnTo>
                    <a:pt x="5531" y="3927"/>
                  </a:lnTo>
                  <a:cubicBezTo>
                    <a:pt x="5765" y="2657"/>
                    <a:pt x="4896" y="1387"/>
                    <a:pt x="3759" y="769"/>
                  </a:cubicBezTo>
                  <a:cubicBezTo>
                    <a:pt x="2623" y="151"/>
                    <a:pt x="1287" y="34"/>
                    <a:pt x="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" name="Google Shape;1091;p34"/>
            <p:cNvSpPr/>
            <p:nvPr/>
          </p:nvSpPr>
          <p:spPr>
            <a:xfrm>
              <a:off x="5154924" y="1939682"/>
              <a:ext cx="71247" cy="176852"/>
            </a:xfrm>
            <a:custGeom>
              <a:avLst/>
              <a:gdLst/>
              <a:ahLst/>
              <a:cxnLst/>
              <a:rect l="l" t="t" r="r" b="b"/>
              <a:pathLst>
                <a:path w="2223" h="5518" extrusionOk="0">
                  <a:moveTo>
                    <a:pt x="2202" y="1"/>
                  </a:moveTo>
                  <a:cubicBezTo>
                    <a:pt x="2184" y="1"/>
                    <a:pt x="2105" y="48"/>
                    <a:pt x="1989" y="121"/>
                  </a:cubicBezTo>
                  <a:cubicBezTo>
                    <a:pt x="1822" y="255"/>
                    <a:pt x="1655" y="405"/>
                    <a:pt x="1504" y="572"/>
                  </a:cubicBezTo>
                  <a:cubicBezTo>
                    <a:pt x="452" y="1658"/>
                    <a:pt x="1" y="3162"/>
                    <a:pt x="235" y="4649"/>
                  </a:cubicBezTo>
                  <a:cubicBezTo>
                    <a:pt x="285" y="4866"/>
                    <a:pt x="335" y="5084"/>
                    <a:pt x="402" y="5284"/>
                  </a:cubicBezTo>
                  <a:cubicBezTo>
                    <a:pt x="418" y="5368"/>
                    <a:pt x="452" y="5451"/>
                    <a:pt x="502" y="5518"/>
                  </a:cubicBezTo>
                  <a:cubicBezTo>
                    <a:pt x="535" y="5501"/>
                    <a:pt x="418" y="5184"/>
                    <a:pt x="352" y="4632"/>
                  </a:cubicBezTo>
                  <a:cubicBezTo>
                    <a:pt x="168" y="3179"/>
                    <a:pt x="619" y="1725"/>
                    <a:pt x="1588" y="639"/>
                  </a:cubicBezTo>
                  <a:cubicBezTo>
                    <a:pt x="1939" y="221"/>
                    <a:pt x="2223" y="21"/>
                    <a:pt x="2206" y="4"/>
                  </a:cubicBezTo>
                  <a:cubicBezTo>
                    <a:pt x="2206" y="2"/>
                    <a:pt x="2205" y="1"/>
                    <a:pt x="2202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" name="Google Shape;1092;p34"/>
            <p:cNvSpPr/>
            <p:nvPr/>
          </p:nvSpPr>
          <p:spPr>
            <a:xfrm>
              <a:off x="5193480" y="1938207"/>
              <a:ext cx="31633" cy="162269"/>
            </a:xfrm>
            <a:custGeom>
              <a:avLst/>
              <a:gdLst/>
              <a:ahLst/>
              <a:cxnLst/>
              <a:rect l="l" t="t" r="r" b="b"/>
              <a:pathLst>
                <a:path w="987" h="5063" extrusionOk="0">
                  <a:moveTo>
                    <a:pt x="936" y="0"/>
                  </a:moveTo>
                  <a:lnTo>
                    <a:pt x="936" y="0"/>
                  </a:lnTo>
                  <a:cubicBezTo>
                    <a:pt x="786" y="217"/>
                    <a:pt x="669" y="434"/>
                    <a:pt x="586" y="685"/>
                  </a:cubicBezTo>
                  <a:cubicBezTo>
                    <a:pt x="101" y="1838"/>
                    <a:pt x="1" y="3108"/>
                    <a:pt x="251" y="4328"/>
                  </a:cubicBezTo>
                  <a:cubicBezTo>
                    <a:pt x="301" y="4595"/>
                    <a:pt x="385" y="4829"/>
                    <a:pt x="502" y="5063"/>
                  </a:cubicBezTo>
                  <a:cubicBezTo>
                    <a:pt x="552" y="5046"/>
                    <a:pt x="168" y="3927"/>
                    <a:pt x="301" y="2506"/>
                  </a:cubicBezTo>
                  <a:cubicBezTo>
                    <a:pt x="418" y="1069"/>
                    <a:pt x="987" y="33"/>
                    <a:pt x="93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" name="Google Shape;1093;p34"/>
            <p:cNvSpPr/>
            <p:nvPr/>
          </p:nvSpPr>
          <p:spPr>
            <a:xfrm>
              <a:off x="5300592" y="1918368"/>
              <a:ext cx="158007" cy="111438"/>
            </a:xfrm>
            <a:custGeom>
              <a:avLst/>
              <a:gdLst/>
              <a:ahLst/>
              <a:cxnLst/>
              <a:rect l="l" t="t" r="r" b="b"/>
              <a:pathLst>
                <a:path w="4930" h="3477" extrusionOk="0">
                  <a:moveTo>
                    <a:pt x="970" y="1"/>
                  </a:moveTo>
                  <a:cubicBezTo>
                    <a:pt x="719" y="1"/>
                    <a:pt x="485" y="18"/>
                    <a:pt x="251" y="68"/>
                  </a:cubicBezTo>
                  <a:cubicBezTo>
                    <a:pt x="168" y="84"/>
                    <a:pt x="67" y="101"/>
                    <a:pt x="0" y="134"/>
                  </a:cubicBezTo>
                  <a:cubicBezTo>
                    <a:pt x="0" y="140"/>
                    <a:pt x="11" y="142"/>
                    <a:pt x="32" y="142"/>
                  </a:cubicBezTo>
                  <a:cubicBezTo>
                    <a:pt x="121" y="142"/>
                    <a:pt x="398" y="99"/>
                    <a:pt x="809" y="99"/>
                  </a:cubicBezTo>
                  <a:cubicBezTo>
                    <a:pt x="860" y="99"/>
                    <a:pt x="914" y="100"/>
                    <a:pt x="970" y="101"/>
                  </a:cubicBezTo>
                  <a:cubicBezTo>
                    <a:pt x="2540" y="168"/>
                    <a:pt x="3944" y="1120"/>
                    <a:pt x="4595" y="2574"/>
                  </a:cubicBezTo>
                  <a:cubicBezTo>
                    <a:pt x="4841" y="3097"/>
                    <a:pt x="4894" y="3477"/>
                    <a:pt x="4927" y="3477"/>
                  </a:cubicBezTo>
                  <a:cubicBezTo>
                    <a:pt x="4928" y="3477"/>
                    <a:pt x="4929" y="3477"/>
                    <a:pt x="4929" y="3476"/>
                  </a:cubicBezTo>
                  <a:cubicBezTo>
                    <a:pt x="4929" y="3393"/>
                    <a:pt x="4929" y="3309"/>
                    <a:pt x="4896" y="3209"/>
                  </a:cubicBezTo>
                  <a:cubicBezTo>
                    <a:pt x="4863" y="2975"/>
                    <a:pt x="4796" y="2741"/>
                    <a:pt x="4696" y="2524"/>
                  </a:cubicBezTo>
                  <a:cubicBezTo>
                    <a:pt x="4094" y="1003"/>
                    <a:pt x="2607" y="1"/>
                    <a:pt x="970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" name="Google Shape;1094;p34"/>
            <p:cNvSpPr/>
            <p:nvPr/>
          </p:nvSpPr>
          <p:spPr>
            <a:xfrm>
              <a:off x="5176366" y="1869877"/>
              <a:ext cx="46601" cy="44806"/>
            </a:xfrm>
            <a:custGeom>
              <a:avLst/>
              <a:gdLst/>
              <a:ahLst/>
              <a:cxnLst/>
              <a:rect l="l" t="t" r="r" b="b"/>
              <a:pathLst>
                <a:path w="1454" h="1398" extrusionOk="0">
                  <a:moveTo>
                    <a:pt x="42" y="1"/>
                  </a:moveTo>
                  <a:cubicBezTo>
                    <a:pt x="27" y="1"/>
                    <a:pt x="19" y="4"/>
                    <a:pt x="17" y="10"/>
                  </a:cubicBezTo>
                  <a:cubicBezTo>
                    <a:pt x="0" y="43"/>
                    <a:pt x="401" y="244"/>
                    <a:pt x="785" y="628"/>
                  </a:cubicBezTo>
                  <a:cubicBezTo>
                    <a:pt x="1162" y="1005"/>
                    <a:pt x="1362" y="1397"/>
                    <a:pt x="1401" y="1397"/>
                  </a:cubicBezTo>
                  <a:cubicBezTo>
                    <a:pt x="1402" y="1397"/>
                    <a:pt x="1403" y="1397"/>
                    <a:pt x="1404" y="1397"/>
                  </a:cubicBezTo>
                  <a:cubicBezTo>
                    <a:pt x="1454" y="1380"/>
                    <a:pt x="1303" y="929"/>
                    <a:pt x="902" y="528"/>
                  </a:cubicBezTo>
                  <a:cubicBezTo>
                    <a:pt x="536" y="161"/>
                    <a:pt x="144" y="1"/>
                    <a:pt x="4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" name="Google Shape;1095;p34"/>
            <p:cNvSpPr/>
            <p:nvPr/>
          </p:nvSpPr>
          <p:spPr>
            <a:xfrm>
              <a:off x="5215980" y="1870165"/>
              <a:ext cx="9679" cy="46665"/>
            </a:xfrm>
            <a:custGeom>
              <a:avLst/>
              <a:gdLst/>
              <a:ahLst/>
              <a:cxnLst/>
              <a:rect l="l" t="t" r="r" b="b"/>
              <a:pathLst>
                <a:path w="302" h="1456" extrusionOk="0">
                  <a:moveTo>
                    <a:pt x="214" y="0"/>
                  </a:moveTo>
                  <a:cubicBezTo>
                    <a:pt x="159" y="0"/>
                    <a:pt x="1" y="313"/>
                    <a:pt x="17" y="736"/>
                  </a:cubicBezTo>
                  <a:cubicBezTo>
                    <a:pt x="33" y="1159"/>
                    <a:pt x="224" y="1455"/>
                    <a:pt x="265" y="1455"/>
                  </a:cubicBezTo>
                  <a:cubicBezTo>
                    <a:pt x="266" y="1455"/>
                    <a:pt x="267" y="1455"/>
                    <a:pt x="268" y="1455"/>
                  </a:cubicBezTo>
                  <a:cubicBezTo>
                    <a:pt x="301" y="1438"/>
                    <a:pt x="184" y="1121"/>
                    <a:pt x="184" y="736"/>
                  </a:cubicBezTo>
                  <a:cubicBezTo>
                    <a:pt x="168" y="335"/>
                    <a:pt x="251" y="18"/>
                    <a:pt x="218" y="1"/>
                  </a:cubicBezTo>
                  <a:cubicBezTo>
                    <a:pt x="216" y="1"/>
                    <a:pt x="215" y="0"/>
                    <a:pt x="21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" name="Google Shape;1096;p34"/>
            <p:cNvSpPr/>
            <p:nvPr/>
          </p:nvSpPr>
          <p:spPr>
            <a:xfrm>
              <a:off x="4884486" y="2421137"/>
              <a:ext cx="827403" cy="966692"/>
            </a:xfrm>
            <a:custGeom>
              <a:avLst/>
              <a:gdLst/>
              <a:ahLst/>
              <a:cxnLst/>
              <a:rect l="l" t="t" r="r" b="b"/>
              <a:pathLst>
                <a:path w="25816" h="30162" extrusionOk="0">
                  <a:moveTo>
                    <a:pt x="10274" y="0"/>
                  </a:moveTo>
                  <a:cubicBezTo>
                    <a:pt x="10173" y="0"/>
                    <a:pt x="10074" y="1"/>
                    <a:pt x="9976" y="3"/>
                  </a:cubicBezTo>
                  <a:cubicBezTo>
                    <a:pt x="6434" y="37"/>
                    <a:pt x="1237" y="2242"/>
                    <a:pt x="536" y="5717"/>
                  </a:cubicBezTo>
                  <a:cubicBezTo>
                    <a:pt x="1" y="8357"/>
                    <a:pt x="519" y="13019"/>
                    <a:pt x="519" y="18700"/>
                  </a:cubicBezTo>
                  <a:lnTo>
                    <a:pt x="970" y="29544"/>
                  </a:lnTo>
                  <a:lnTo>
                    <a:pt x="19082" y="30162"/>
                  </a:lnTo>
                  <a:lnTo>
                    <a:pt x="18514" y="14172"/>
                  </a:lnTo>
                  <a:lnTo>
                    <a:pt x="19500" y="17530"/>
                  </a:lnTo>
                  <a:lnTo>
                    <a:pt x="25816" y="14673"/>
                  </a:lnTo>
                  <a:cubicBezTo>
                    <a:pt x="25582" y="13971"/>
                    <a:pt x="24546" y="10830"/>
                    <a:pt x="22541" y="5851"/>
                  </a:cubicBezTo>
                  <a:cubicBezTo>
                    <a:pt x="21438" y="3077"/>
                    <a:pt x="18948" y="1089"/>
                    <a:pt x="16008" y="588"/>
                  </a:cubicBezTo>
                  <a:cubicBezTo>
                    <a:pt x="14053" y="257"/>
                    <a:pt x="11950" y="0"/>
                    <a:pt x="1027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" name="Google Shape;1097;p34"/>
            <p:cNvSpPr/>
            <p:nvPr/>
          </p:nvSpPr>
          <p:spPr>
            <a:xfrm>
              <a:off x="4901633" y="2933680"/>
              <a:ext cx="430592" cy="480397"/>
            </a:xfrm>
            <a:custGeom>
              <a:avLst/>
              <a:gdLst/>
              <a:ahLst/>
              <a:cxnLst/>
              <a:rect l="l" t="t" r="r" b="b"/>
              <a:pathLst>
                <a:path w="13435" h="14989" extrusionOk="0">
                  <a:moveTo>
                    <a:pt x="8183" y="1"/>
                  </a:moveTo>
                  <a:cubicBezTo>
                    <a:pt x="7692" y="1"/>
                    <a:pt x="7194" y="39"/>
                    <a:pt x="6717" y="68"/>
                  </a:cubicBezTo>
                  <a:cubicBezTo>
                    <a:pt x="5180" y="159"/>
                    <a:pt x="3643" y="398"/>
                    <a:pt x="2122" y="398"/>
                  </a:cubicBezTo>
                  <a:cubicBezTo>
                    <a:pt x="1411" y="398"/>
                    <a:pt x="703" y="345"/>
                    <a:pt x="1" y="202"/>
                  </a:cubicBezTo>
                  <a:lnTo>
                    <a:pt x="1" y="202"/>
                  </a:lnTo>
                  <a:lnTo>
                    <a:pt x="2524" y="14989"/>
                  </a:lnTo>
                  <a:lnTo>
                    <a:pt x="13434" y="14337"/>
                  </a:lnTo>
                  <a:cubicBezTo>
                    <a:pt x="13217" y="10210"/>
                    <a:pt x="13050" y="7520"/>
                    <a:pt x="12098" y="3510"/>
                  </a:cubicBezTo>
                  <a:cubicBezTo>
                    <a:pt x="11864" y="2457"/>
                    <a:pt x="11513" y="1338"/>
                    <a:pt x="10661" y="670"/>
                  </a:cubicBezTo>
                  <a:cubicBezTo>
                    <a:pt x="9968" y="128"/>
                    <a:pt x="9086" y="1"/>
                    <a:pt x="8183" y="1"/>
                  </a:cubicBezTo>
                  <a:close/>
                </a:path>
              </a:pathLst>
            </a:custGeom>
            <a:solidFill>
              <a:schemeClr val="dk2">
                <a:alpha val="1964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" name="Google Shape;1098;p34"/>
            <p:cNvSpPr/>
            <p:nvPr/>
          </p:nvSpPr>
          <p:spPr>
            <a:xfrm>
              <a:off x="4909133" y="2573310"/>
              <a:ext cx="680678" cy="4840"/>
            </a:xfrm>
            <a:custGeom>
              <a:avLst/>
              <a:gdLst/>
              <a:ahLst/>
              <a:cxnLst/>
              <a:rect l="l" t="t" r="r" b="b"/>
              <a:pathLst>
                <a:path w="21238" h="151" extrusionOk="0">
                  <a:moveTo>
                    <a:pt x="10627" y="0"/>
                  </a:moveTo>
                  <a:cubicBezTo>
                    <a:pt x="4746" y="0"/>
                    <a:pt x="0" y="34"/>
                    <a:pt x="0" y="67"/>
                  </a:cubicBezTo>
                  <a:cubicBezTo>
                    <a:pt x="0" y="117"/>
                    <a:pt x="4762" y="151"/>
                    <a:pt x="10627" y="151"/>
                  </a:cubicBezTo>
                  <a:cubicBezTo>
                    <a:pt x="16492" y="151"/>
                    <a:pt x="21237" y="117"/>
                    <a:pt x="21237" y="67"/>
                  </a:cubicBezTo>
                  <a:cubicBezTo>
                    <a:pt x="21237" y="34"/>
                    <a:pt x="16492" y="0"/>
                    <a:pt x="1062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" name="Google Shape;1099;p34"/>
            <p:cNvSpPr/>
            <p:nvPr/>
          </p:nvSpPr>
          <p:spPr>
            <a:xfrm>
              <a:off x="4891986" y="2670774"/>
              <a:ext cx="740643" cy="4840"/>
            </a:xfrm>
            <a:custGeom>
              <a:avLst/>
              <a:gdLst/>
              <a:ahLst/>
              <a:cxnLst/>
              <a:rect l="l" t="t" r="r" b="b"/>
              <a:pathLst>
                <a:path w="23109" h="151" extrusionOk="0">
                  <a:moveTo>
                    <a:pt x="11546" y="0"/>
                  </a:moveTo>
                  <a:cubicBezTo>
                    <a:pt x="5164" y="0"/>
                    <a:pt x="1" y="34"/>
                    <a:pt x="1" y="67"/>
                  </a:cubicBezTo>
                  <a:cubicBezTo>
                    <a:pt x="1" y="117"/>
                    <a:pt x="5164" y="151"/>
                    <a:pt x="11546" y="151"/>
                  </a:cubicBezTo>
                  <a:cubicBezTo>
                    <a:pt x="17929" y="151"/>
                    <a:pt x="23109" y="117"/>
                    <a:pt x="23109" y="67"/>
                  </a:cubicBezTo>
                  <a:cubicBezTo>
                    <a:pt x="23109" y="34"/>
                    <a:pt x="17929" y="0"/>
                    <a:pt x="11546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" name="Google Shape;1100;p34"/>
            <p:cNvSpPr/>
            <p:nvPr/>
          </p:nvSpPr>
          <p:spPr>
            <a:xfrm>
              <a:off x="4895736" y="2792853"/>
              <a:ext cx="789904" cy="5384"/>
            </a:xfrm>
            <a:custGeom>
              <a:avLst/>
              <a:gdLst/>
              <a:ahLst/>
              <a:cxnLst/>
              <a:rect l="l" t="t" r="r" b="b"/>
              <a:pathLst>
                <a:path w="24646" h="168" extrusionOk="0">
                  <a:moveTo>
                    <a:pt x="12315" y="1"/>
                  </a:moveTo>
                  <a:cubicBezTo>
                    <a:pt x="5515" y="1"/>
                    <a:pt x="1" y="34"/>
                    <a:pt x="1" y="84"/>
                  </a:cubicBezTo>
                  <a:cubicBezTo>
                    <a:pt x="1" y="135"/>
                    <a:pt x="5515" y="168"/>
                    <a:pt x="12315" y="168"/>
                  </a:cubicBezTo>
                  <a:cubicBezTo>
                    <a:pt x="19132" y="168"/>
                    <a:pt x="24646" y="135"/>
                    <a:pt x="24646" y="84"/>
                  </a:cubicBezTo>
                  <a:cubicBezTo>
                    <a:pt x="24646" y="34"/>
                    <a:pt x="19132" y="1"/>
                    <a:pt x="1231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" name="Google Shape;1101;p34"/>
            <p:cNvSpPr/>
            <p:nvPr/>
          </p:nvSpPr>
          <p:spPr>
            <a:xfrm>
              <a:off x="5226684" y="2925123"/>
              <a:ext cx="246913" cy="4872"/>
            </a:xfrm>
            <a:custGeom>
              <a:avLst/>
              <a:gdLst/>
              <a:ahLst/>
              <a:cxnLst/>
              <a:rect l="l" t="t" r="r" b="b"/>
              <a:pathLst>
                <a:path w="7704" h="152" extrusionOk="0">
                  <a:moveTo>
                    <a:pt x="3844" y="1"/>
                  </a:moveTo>
                  <a:cubicBezTo>
                    <a:pt x="1722" y="1"/>
                    <a:pt x="1" y="34"/>
                    <a:pt x="1" y="68"/>
                  </a:cubicBezTo>
                  <a:cubicBezTo>
                    <a:pt x="1" y="118"/>
                    <a:pt x="1722" y="151"/>
                    <a:pt x="3844" y="151"/>
                  </a:cubicBezTo>
                  <a:cubicBezTo>
                    <a:pt x="5966" y="151"/>
                    <a:pt x="7703" y="118"/>
                    <a:pt x="7703" y="68"/>
                  </a:cubicBezTo>
                  <a:cubicBezTo>
                    <a:pt x="7703" y="34"/>
                    <a:pt x="5966" y="1"/>
                    <a:pt x="3844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" name="Google Shape;1102;p34"/>
            <p:cNvSpPr/>
            <p:nvPr/>
          </p:nvSpPr>
          <p:spPr>
            <a:xfrm>
              <a:off x="5226684" y="3066848"/>
              <a:ext cx="258163" cy="5256"/>
            </a:xfrm>
            <a:custGeom>
              <a:avLst/>
              <a:gdLst/>
              <a:ahLst/>
              <a:cxnLst/>
              <a:rect l="l" t="t" r="r" b="b"/>
              <a:pathLst>
                <a:path w="8055" h="164" extrusionOk="0">
                  <a:moveTo>
                    <a:pt x="2461" y="0"/>
                  </a:moveTo>
                  <a:cubicBezTo>
                    <a:pt x="1016" y="0"/>
                    <a:pt x="1" y="19"/>
                    <a:pt x="1" y="57"/>
                  </a:cubicBezTo>
                  <a:cubicBezTo>
                    <a:pt x="1" y="90"/>
                    <a:pt x="1805" y="140"/>
                    <a:pt x="4027" y="157"/>
                  </a:cubicBezTo>
                  <a:cubicBezTo>
                    <a:pt x="4623" y="161"/>
                    <a:pt x="5188" y="164"/>
                    <a:pt x="5697" y="164"/>
                  </a:cubicBezTo>
                  <a:cubicBezTo>
                    <a:pt x="7087" y="164"/>
                    <a:pt x="8054" y="148"/>
                    <a:pt x="8054" y="124"/>
                  </a:cubicBezTo>
                  <a:cubicBezTo>
                    <a:pt x="8054" y="73"/>
                    <a:pt x="6250" y="23"/>
                    <a:pt x="4027" y="7"/>
                  </a:cubicBezTo>
                  <a:cubicBezTo>
                    <a:pt x="3472" y="2"/>
                    <a:pt x="2942" y="0"/>
                    <a:pt x="246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" name="Google Shape;1103;p34"/>
            <p:cNvSpPr/>
            <p:nvPr/>
          </p:nvSpPr>
          <p:spPr>
            <a:xfrm>
              <a:off x="5232037" y="3181106"/>
              <a:ext cx="258676" cy="6666"/>
            </a:xfrm>
            <a:custGeom>
              <a:avLst/>
              <a:gdLst/>
              <a:ahLst/>
              <a:cxnLst/>
              <a:rect l="l" t="t" r="r" b="b"/>
              <a:pathLst>
                <a:path w="8071" h="208" extrusionOk="0">
                  <a:moveTo>
                    <a:pt x="4028" y="1"/>
                  </a:moveTo>
                  <a:cubicBezTo>
                    <a:pt x="2925" y="1"/>
                    <a:pt x="1906" y="34"/>
                    <a:pt x="1187" y="67"/>
                  </a:cubicBezTo>
                  <a:cubicBezTo>
                    <a:pt x="819" y="101"/>
                    <a:pt x="519" y="117"/>
                    <a:pt x="318" y="134"/>
                  </a:cubicBezTo>
                  <a:cubicBezTo>
                    <a:pt x="218" y="134"/>
                    <a:pt x="118" y="151"/>
                    <a:pt x="1" y="184"/>
                  </a:cubicBezTo>
                  <a:cubicBezTo>
                    <a:pt x="83" y="196"/>
                    <a:pt x="158" y="208"/>
                    <a:pt x="230" y="208"/>
                  </a:cubicBezTo>
                  <a:cubicBezTo>
                    <a:pt x="259" y="208"/>
                    <a:pt x="289" y="206"/>
                    <a:pt x="318" y="201"/>
                  </a:cubicBezTo>
                  <a:cubicBezTo>
                    <a:pt x="569" y="201"/>
                    <a:pt x="853" y="184"/>
                    <a:pt x="1187" y="184"/>
                  </a:cubicBezTo>
                  <a:cubicBezTo>
                    <a:pt x="1922" y="168"/>
                    <a:pt x="2925" y="151"/>
                    <a:pt x="4028" y="151"/>
                  </a:cubicBezTo>
                  <a:cubicBezTo>
                    <a:pt x="5147" y="151"/>
                    <a:pt x="6150" y="168"/>
                    <a:pt x="6885" y="184"/>
                  </a:cubicBezTo>
                  <a:cubicBezTo>
                    <a:pt x="7219" y="201"/>
                    <a:pt x="7503" y="201"/>
                    <a:pt x="7737" y="201"/>
                  </a:cubicBezTo>
                  <a:cubicBezTo>
                    <a:pt x="7771" y="206"/>
                    <a:pt x="7804" y="208"/>
                    <a:pt x="7836" y="208"/>
                  </a:cubicBezTo>
                  <a:cubicBezTo>
                    <a:pt x="7914" y="208"/>
                    <a:pt x="7988" y="196"/>
                    <a:pt x="8071" y="184"/>
                  </a:cubicBezTo>
                  <a:lnTo>
                    <a:pt x="8054" y="184"/>
                  </a:lnTo>
                  <a:cubicBezTo>
                    <a:pt x="7954" y="168"/>
                    <a:pt x="7854" y="151"/>
                    <a:pt x="7754" y="151"/>
                  </a:cubicBezTo>
                  <a:cubicBezTo>
                    <a:pt x="7553" y="117"/>
                    <a:pt x="7252" y="101"/>
                    <a:pt x="6885" y="84"/>
                  </a:cubicBezTo>
                  <a:cubicBezTo>
                    <a:pt x="6150" y="34"/>
                    <a:pt x="5147" y="1"/>
                    <a:pt x="4028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" name="Google Shape;1104;p34"/>
            <p:cNvSpPr/>
            <p:nvPr/>
          </p:nvSpPr>
          <p:spPr>
            <a:xfrm>
              <a:off x="5234184" y="3279115"/>
              <a:ext cx="254413" cy="4840"/>
            </a:xfrm>
            <a:custGeom>
              <a:avLst/>
              <a:gdLst/>
              <a:ahLst/>
              <a:cxnLst/>
              <a:rect l="l" t="t" r="r" b="b"/>
              <a:pathLst>
                <a:path w="7938" h="151" extrusionOk="0">
                  <a:moveTo>
                    <a:pt x="3977" y="0"/>
                  </a:moveTo>
                  <a:cubicBezTo>
                    <a:pt x="1772" y="0"/>
                    <a:pt x="1" y="34"/>
                    <a:pt x="1" y="67"/>
                  </a:cubicBezTo>
                  <a:cubicBezTo>
                    <a:pt x="1" y="117"/>
                    <a:pt x="1772" y="151"/>
                    <a:pt x="3977" y="151"/>
                  </a:cubicBezTo>
                  <a:cubicBezTo>
                    <a:pt x="6166" y="151"/>
                    <a:pt x="7937" y="117"/>
                    <a:pt x="7937" y="67"/>
                  </a:cubicBezTo>
                  <a:cubicBezTo>
                    <a:pt x="7937" y="34"/>
                    <a:pt x="6166" y="0"/>
                    <a:pt x="397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" name="Google Shape;1105;p34"/>
            <p:cNvSpPr/>
            <p:nvPr/>
          </p:nvSpPr>
          <p:spPr>
            <a:xfrm>
              <a:off x="5006597" y="2477449"/>
              <a:ext cx="499115" cy="4840"/>
            </a:xfrm>
            <a:custGeom>
              <a:avLst/>
              <a:gdLst/>
              <a:ahLst/>
              <a:cxnLst/>
              <a:rect l="l" t="t" r="r" b="b"/>
              <a:pathLst>
                <a:path w="15573" h="151" extrusionOk="0">
                  <a:moveTo>
                    <a:pt x="7787" y="1"/>
                  </a:moveTo>
                  <a:cubicBezTo>
                    <a:pt x="3493" y="1"/>
                    <a:pt x="0" y="34"/>
                    <a:pt x="0" y="84"/>
                  </a:cubicBezTo>
                  <a:cubicBezTo>
                    <a:pt x="0" y="117"/>
                    <a:pt x="3493" y="151"/>
                    <a:pt x="7787" y="151"/>
                  </a:cubicBezTo>
                  <a:cubicBezTo>
                    <a:pt x="12097" y="151"/>
                    <a:pt x="15573" y="117"/>
                    <a:pt x="15573" y="84"/>
                  </a:cubicBezTo>
                  <a:cubicBezTo>
                    <a:pt x="15573" y="34"/>
                    <a:pt x="12097" y="1"/>
                    <a:pt x="778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" name="Google Shape;1106;p34"/>
            <p:cNvSpPr/>
            <p:nvPr/>
          </p:nvSpPr>
          <p:spPr>
            <a:xfrm>
              <a:off x="5417862" y="2497800"/>
              <a:ext cx="74997" cy="373286"/>
            </a:xfrm>
            <a:custGeom>
              <a:avLst/>
              <a:gdLst/>
              <a:ahLst/>
              <a:cxnLst/>
              <a:rect l="l" t="t" r="r" b="b"/>
              <a:pathLst>
                <a:path w="2340" h="11647" extrusionOk="0">
                  <a:moveTo>
                    <a:pt x="2340" y="0"/>
                  </a:moveTo>
                  <a:cubicBezTo>
                    <a:pt x="2290" y="0"/>
                    <a:pt x="2240" y="0"/>
                    <a:pt x="2206" y="17"/>
                  </a:cubicBezTo>
                  <a:cubicBezTo>
                    <a:pt x="2072" y="34"/>
                    <a:pt x="1956" y="51"/>
                    <a:pt x="1839" y="101"/>
                  </a:cubicBezTo>
                  <a:cubicBezTo>
                    <a:pt x="1387" y="268"/>
                    <a:pt x="1003" y="552"/>
                    <a:pt x="719" y="936"/>
                  </a:cubicBezTo>
                  <a:cubicBezTo>
                    <a:pt x="301" y="1504"/>
                    <a:pt x="67" y="2173"/>
                    <a:pt x="34" y="2874"/>
                  </a:cubicBezTo>
                  <a:cubicBezTo>
                    <a:pt x="1" y="3726"/>
                    <a:pt x="67" y="4562"/>
                    <a:pt x="218" y="5397"/>
                  </a:cubicBezTo>
                  <a:cubicBezTo>
                    <a:pt x="468" y="6901"/>
                    <a:pt x="836" y="8388"/>
                    <a:pt x="1287" y="9842"/>
                  </a:cubicBezTo>
                  <a:cubicBezTo>
                    <a:pt x="1454" y="10393"/>
                    <a:pt x="1588" y="10844"/>
                    <a:pt x="1688" y="11162"/>
                  </a:cubicBezTo>
                  <a:cubicBezTo>
                    <a:pt x="1738" y="11329"/>
                    <a:pt x="1805" y="11479"/>
                    <a:pt x="1872" y="11646"/>
                  </a:cubicBezTo>
                  <a:cubicBezTo>
                    <a:pt x="1839" y="11479"/>
                    <a:pt x="1805" y="11312"/>
                    <a:pt x="1755" y="11145"/>
                  </a:cubicBezTo>
                  <a:cubicBezTo>
                    <a:pt x="1655" y="10811"/>
                    <a:pt x="1538" y="10360"/>
                    <a:pt x="1387" y="9808"/>
                  </a:cubicBezTo>
                  <a:cubicBezTo>
                    <a:pt x="970" y="8355"/>
                    <a:pt x="636" y="6868"/>
                    <a:pt x="368" y="5364"/>
                  </a:cubicBezTo>
                  <a:cubicBezTo>
                    <a:pt x="218" y="4545"/>
                    <a:pt x="168" y="3710"/>
                    <a:pt x="184" y="2891"/>
                  </a:cubicBezTo>
                  <a:cubicBezTo>
                    <a:pt x="201" y="2206"/>
                    <a:pt x="418" y="1554"/>
                    <a:pt x="803" y="1003"/>
                  </a:cubicBezTo>
                  <a:cubicBezTo>
                    <a:pt x="1070" y="619"/>
                    <a:pt x="1438" y="335"/>
                    <a:pt x="1855" y="151"/>
                  </a:cubicBezTo>
                  <a:cubicBezTo>
                    <a:pt x="2156" y="34"/>
                    <a:pt x="2340" y="17"/>
                    <a:pt x="234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" name="Google Shape;1107;p34"/>
            <p:cNvSpPr/>
            <p:nvPr/>
          </p:nvSpPr>
          <p:spPr>
            <a:xfrm>
              <a:off x="5501417" y="2864100"/>
              <a:ext cx="204062" cy="92112"/>
            </a:xfrm>
            <a:custGeom>
              <a:avLst/>
              <a:gdLst/>
              <a:ahLst/>
              <a:cxnLst/>
              <a:rect l="l" t="t" r="r" b="b"/>
              <a:pathLst>
                <a:path w="6367" h="2874" extrusionOk="0">
                  <a:moveTo>
                    <a:pt x="6366" y="0"/>
                  </a:moveTo>
                  <a:lnTo>
                    <a:pt x="6366" y="0"/>
                  </a:lnTo>
                  <a:cubicBezTo>
                    <a:pt x="6032" y="117"/>
                    <a:pt x="5731" y="251"/>
                    <a:pt x="5430" y="418"/>
                  </a:cubicBezTo>
                  <a:cubicBezTo>
                    <a:pt x="4846" y="685"/>
                    <a:pt x="4060" y="1053"/>
                    <a:pt x="3192" y="1437"/>
                  </a:cubicBezTo>
                  <a:cubicBezTo>
                    <a:pt x="2306" y="1838"/>
                    <a:pt x="1504" y="2189"/>
                    <a:pt x="936" y="2440"/>
                  </a:cubicBezTo>
                  <a:cubicBezTo>
                    <a:pt x="618" y="2556"/>
                    <a:pt x="301" y="2707"/>
                    <a:pt x="0" y="2874"/>
                  </a:cubicBezTo>
                  <a:cubicBezTo>
                    <a:pt x="334" y="2790"/>
                    <a:pt x="652" y="2673"/>
                    <a:pt x="969" y="2540"/>
                  </a:cubicBezTo>
                  <a:cubicBezTo>
                    <a:pt x="1571" y="2306"/>
                    <a:pt x="2373" y="1988"/>
                    <a:pt x="3258" y="1587"/>
                  </a:cubicBezTo>
                  <a:cubicBezTo>
                    <a:pt x="4127" y="1186"/>
                    <a:pt x="4912" y="802"/>
                    <a:pt x="5481" y="501"/>
                  </a:cubicBezTo>
                  <a:cubicBezTo>
                    <a:pt x="5781" y="368"/>
                    <a:pt x="6082" y="201"/>
                    <a:pt x="636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" name="Google Shape;1108;p34"/>
            <p:cNvSpPr/>
            <p:nvPr/>
          </p:nvSpPr>
          <p:spPr>
            <a:xfrm>
              <a:off x="5094959" y="3373342"/>
              <a:ext cx="895413" cy="1225816"/>
            </a:xfrm>
            <a:custGeom>
              <a:avLst/>
              <a:gdLst/>
              <a:ahLst/>
              <a:cxnLst/>
              <a:rect l="l" t="t" r="r" b="b"/>
              <a:pathLst>
                <a:path w="27938" h="38247" extrusionOk="0">
                  <a:moveTo>
                    <a:pt x="17" y="1"/>
                  </a:moveTo>
                  <a:lnTo>
                    <a:pt x="0" y="8522"/>
                  </a:lnTo>
                  <a:lnTo>
                    <a:pt x="19249" y="9023"/>
                  </a:lnTo>
                  <a:lnTo>
                    <a:pt x="18630" y="37963"/>
                  </a:lnTo>
                  <a:lnTo>
                    <a:pt x="26985" y="38247"/>
                  </a:lnTo>
                  <a:lnTo>
                    <a:pt x="27887" y="7319"/>
                  </a:lnTo>
                  <a:cubicBezTo>
                    <a:pt x="27937" y="3810"/>
                    <a:pt x="25163" y="903"/>
                    <a:pt x="21655" y="769"/>
                  </a:cubicBezTo>
                  <a:lnTo>
                    <a:pt x="17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" name="Google Shape;1109;p34"/>
            <p:cNvSpPr/>
            <p:nvPr/>
          </p:nvSpPr>
          <p:spPr>
            <a:xfrm>
              <a:off x="4808464" y="3373342"/>
              <a:ext cx="895381" cy="1225816"/>
            </a:xfrm>
            <a:custGeom>
              <a:avLst/>
              <a:gdLst/>
              <a:ahLst/>
              <a:cxnLst/>
              <a:rect l="l" t="t" r="r" b="b"/>
              <a:pathLst>
                <a:path w="27937" h="38247" extrusionOk="0">
                  <a:moveTo>
                    <a:pt x="0" y="1"/>
                  </a:moveTo>
                  <a:lnTo>
                    <a:pt x="0" y="8506"/>
                  </a:lnTo>
                  <a:lnTo>
                    <a:pt x="19232" y="9023"/>
                  </a:lnTo>
                  <a:lnTo>
                    <a:pt x="18513" y="37562"/>
                  </a:lnTo>
                  <a:lnTo>
                    <a:pt x="26985" y="38247"/>
                  </a:lnTo>
                  <a:lnTo>
                    <a:pt x="27887" y="7319"/>
                  </a:lnTo>
                  <a:cubicBezTo>
                    <a:pt x="27937" y="3810"/>
                    <a:pt x="25163" y="903"/>
                    <a:pt x="21655" y="769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" name="Google Shape;1110;p34"/>
            <p:cNvSpPr/>
            <p:nvPr/>
          </p:nvSpPr>
          <p:spPr>
            <a:xfrm>
              <a:off x="5259343" y="3733744"/>
              <a:ext cx="68587" cy="817211"/>
            </a:xfrm>
            <a:custGeom>
              <a:avLst/>
              <a:gdLst/>
              <a:ahLst/>
              <a:cxnLst/>
              <a:rect l="l" t="t" r="r" b="b"/>
              <a:pathLst>
                <a:path w="2140" h="25498" extrusionOk="0">
                  <a:moveTo>
                    <a:pt x="1" y="1"/>
                  </a:moveTo>
                  <a:lnTo>
                    <a:pt x="1" y="25498"/>
                  </a:lnTo>
                  <a:lnTo>
                    <a:pt x="2140" y="25498"/>
                  </a:lnTo>
                  <a:lnTo>
                    <a:pt x="214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" name="Google Shape;1111;p34"/>
            <p:cNvSpPr/>
            <p:nvPr/>
          </p:nvSpPr>
          <p:spPr>
            <a:xfrm>
              <a:off x="4686898" y="2876407"/>
              <a:ext cx="544113" cy="808109"/>
            </a:xfrm>
            <a:custGeom>
              <a:avLst/>
              <a:gdLst/>
              <a:ahLst/>
              <a:cxnLst/>
              <a:rect l="l" t="t" r="r" b="b"/>
              <a:pathLst>
                <a:path w="16977" h="25214" extrusionOk="0">
                  <a:moveTo>
                    <a:pt x="1989" y="0"/>
                  </a:moveTo>
                  <a:cubicBezTo>
                    <a:pt x="886" y="0"/>
                    <a:pt x="0" y="886"/>
                    <a:pt x="0" y="1989"/>
                  </a:cubicBezTo>
                  <a:lnTo>
                    <a:pt x="0" y="20752"/>
                  </a:lnTo>
                  <a:cubicBezTo>
                    <a:pt x="0" y="23225"/>
                    <a:pt x="2005" y="25214"/>
                    <a:pt x="4462" y="25214"/>
                  </a:cubicBezTo>
                  <a:lnTo>
                    <a:pt x="16976" y="25214"/>
                  </a:lnTo>
                  <a:lnTo>
                    <a:pt x="16976" y="1989"/>
                  </a:lnTo>
                  <a:cubicBezTo>
                    <a:pt x="16976" y="886"/>
                    <a:pt x="16074" y="0"/>
                    <a:pt x="14988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" name="Google Shape;1112;p34"/>
            <p:cNvSpPr/>
            <p:nvPr/>
          </p:nvSpPr>
          <p:spPr>
            <a:xfrm>
              <a:off x="4794009" y="3627723"/>
              <a:ext cx="976243" cy="106053"/>
            </a:xfrm>
            <a:custGeom>
              <a:avLst/>
              <a:gdLst/>
              <a:ahLst/>
              <a:cxnLst/>
              <a:rect l="l" t="t" r="r" b="b"/>
              <a:pathLst>
                <a:path w="30460" h="3309" extrusionOk="0">
                  <a:moveTo>
                    <a:pt x="3308" y="0"/>
                  </a:moveTo>
                  <a:cubicBezTo>
                    <a:pt x="1487" y="0"/>
                    <a:pt x="0" y="1471"/>
                    <a:pt x="0" y="3309"/>
                  </a:cubicBezTo>
                  <a:lnTo>
                    <a:pt x="30460" y="3309"/>
                  </a:lnTo>
                  <a:cubicBezTo>
                    <a:pt x="30460" y="1471"/>
                    <a:pt x="28973" y="0"/>
                    <a:pt x="27152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" name="Google Shape;1113;p34"/>
            <p:cNvSpPr/>
            <p:nvPr/>
          </p:nvSpPr>
          <p:spPr>
            <a:xfrm>
              <a:off x="4820771" y="3613268"/>
              <a:ext cx="410240" cy="74132"/>
            </a:xfrm>
            <a:custGeom>
              <a:avLst/>
              <a:gdLst/>
              <a:ahLst/>
              <a:cxnLst/>
              <a:rect l="l" t="t" r="r" b="b"/>
              <a:pathLst>
                <a:path w="12800" h="2313" extrusionOk="0">
                  <a:moveTo>
                    <a:pt x="12799" y="0"/>
                  </a:moveTo>
                  <a:cubicBezTo>
                    <a:pt x="12783" y="0"/>
                    <a:pt x="12783" y="201"/>
                    <a:pt x="12699" y="552"/>
                  </a:cubicBezTo>
                  <a:cubicBezTo>
                    <a:pt x="12565" y="1020"/>
                    <a:pt x="12265" y="1437"/>
                    <a:pt x="11864" y="1738"/>
                  </a:cubicBezTo>
                  <a:cubicBezTo>
                    <a:pt x="11596" y="1938"/>
                    <a:pt x="11279" y="2072"/>
                    <a:pt x="10945" y="2122"/>
                  </a:cubicBezTo>
                  <a:cubicBezTo>
                    <a:pt x="10701" y="2154"/>
                    <a:pt x="10451" y="2166"/>
                    <a:pt x="10198" y="2166"/>
                  </a:cubicBezTo>
                  <a:cubicBezTo>
                    <a:pt x="10052" y="2166"/>
                    <a:pt x="9905" y="2162"/>
                    <a:pt x="9758" y="2156"/>
                  </a:cubicBezTo>
                  <a:lnTo>
                    <a:pt x="7035" y="2156"/>
                  </a:lnTo>
                  <a:cubicBezTo>
                    <a:pt x="5080" y="2156"/>
                    <a:pt x="3326" y="2172"/>
                    <a:pt x="2056" y="2189"/>
                  </a:cubicBezTo>
                  <a:lnTo>
                    <a:pt x="552" y="2206"/>
                  </a:lnTo>
                  <a:lnTo>
                    <a:pt x="134" y="2223"/>
                  </a:lnTo>
                  <a:cubicBezTo>
                    <a:pt x="101" y="2223"/>
                    <a:pt x="51" y="2223"/>
                    <a:pt x="1" y="2239"/>
                  </a:cubicBezTo>
                  <a:cubicBezTo>
                    <a:pt x="51" y="2256"/>
                    <a:pt x="101" y="2256"/>
                    <a:pt x="134" y="2256"/>
                  </a:cubicBezTo>
                  <a:lnTo>
                    <a:pt x="552" y="2273"/>
                  </a:lnTo>
                  <a:lnTo>
                    <a:pt x="2056" y="2289"/>
                  </a:lnTo>
                  <a:cubicBezTo>
                    <a:pt x="3326" y="2306"/>
                    <a:pt x="5080" y="2306"/>
                    <a:pt x="7035" y="2306"/>
                  </a:cubicBezTo>
                  <a:lnTo>
                    <a:pt x="9758" y="2306"/>
                  </a:lnTo>
                  <a:cubicBezTo>
                    <a:pt x="9859" y="2310"/>
                    <a:pt x="9959" y="2312"/>
                    <a:pt x="10059" y="2312"/>
                  </a:cubicBezTo>
                  <a:cubicBezTo>
                    <a:pt x="10360" y="2312"/>
                    <a:pt x="10661" y="2294"/>
                    <a:pt x="10961" y="2256"/>
                  </a:cubicBezTo>
                  <a:cubicBezTo>
                    <a:pt x="11847" y="2089"/>
                    <a:pt x="12549" y="1437"/>
                    <a:pt x="12749" y="568"/>
                  </a:cubicBezTo>
                  <a:cubicBezTo>
                    <a:pt x="12783" y="435"/>
                    <a:pt x="12799" y="284"/>
                    <a:pt x="12799" y="151"/>
                  </a:cubicBezTo>
                  <a:cubicBezTo>
                    <a:pt x="12799" y="101"/>
                    <a:pt x="12799" y="50"/>
                    <a:pt x="1279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" name="Google Shape;1114;p34"/>
            <p:cNvSpPr/>
            <p:nvPr/>
          </p:nvSpPr>
          <p:spPr>
            <a:xfrm>
              <a:off x="5233639" y="3733232"/>
              <a:ext cx="119995" cy="4840"/>
            </a:xfrm>
            <a:custGeom>
              <a:avLst/>
              <a:gdLst/>
              <a:ahLst/>
              <a:cxnLst/>
              <a:rect l="l" t="t" r="r" b="b"/>
              <a:pathLst>
                <a:path w="3744" h="151" extrusionOk="0">
                  <a:moveTo>
                    <a:pt x="1872" y="0"/>
                  </a:moveTo>
                  <a:cubicBezTo>
                    <a:pt x="836" y="0"/>
                    <a:pt x="1" y="33"/>
                    <a:pt x="1" y="67"/>
                  </a:cubicBezTo>
                  <a:cubicBezTo>
                    <a:pt x="1" y="117"/>
                    <a:pt x="836" y="150"/>
                    <a:pt x="1872" y="150"/>
                  </a:cubicBezTo>
                  <a:cubicBezTo>
                    <a:pt x="2908" y="150"/>
                    <a:pt x="3744" y="117"/>
                    <a:pt x="3744" y="67"/>
                  </a:cubicBezTo>
                  <a:cubicBezTo>
                    <a:pt x="3744" y="33"/>
                    <a:pt x="2908" y="0"/>
                    <a:pt x="187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" name="Google Shape;1115;p34"/>
            <p:cNvSpPr/>
            <p:nvPr/>
          </p:nvSpPr>
          <p:spPr>
            <a:xfrm>
              <a:off x="5153867" y="3309467"/>
              <a:ext cx="496967" cy="380401"/>
            </a:xfrm>
            <a:custGeom>
              <a:avLst/>
              <a:gdLst/>
              <a:ahLst/>
              <a:cxnLst/>
              <a:rect l="l" t="t" r="r" b="b"/>
              <a:pathLst>
                <a:path w="15506" h="11869" extrusionOk="0">
                  <a:moveTo>
                    <a:pt x="6269" y="1"/>
                  </a:moveTo>
                  <a:cubicBezTo>
                    <a:pt x="5205" y="1"/>
                    <a:pt x="4234" y="22"/>
                    <a:pt x="3392" y="22"/>
                  </a:cubicBezTo>
                  <a:cubicBezTo>
                    <a:pt x="2340" y="39"/>
                    <a:pt x="1504" y="56"/>
                    <a:pt x="903" y="72"/>
                  </a:cubicBezTo>
                  <a:cubicBezTo>
                    <a:pt x="602" y="72"/>
                    <a:pt x="301" y="89"/>
                    <a:pt x="0" y="139"/>
                  </a:cubicBezTo>
                  <a:cubicBezTo>
                    <a:pt x="301" y="189"/>
                    <a:pt x="602" y="206"/>
                    <a:pt x="903" y="206"/>
                  </a:cubicBezTo>
                  <a:cubicBezTo>
                    <a:pt x="1487" y="223"/>
                    <a:pt x="2340" y="239"/>
                    <a:pt x="3392" y="256"/>
                  </a:cubicBezTo>
                  <a:cubicBezTo>
                    <a:pt x="4445" y="273"/>
                    <a:pt x="5698" y="273"/>
                    <a:pt x="7085" y="290"/>
                  </a:cubicBezTo>
                  <a:cubicBezTo>
                    <a:pt x="7787" y="323"/>
                    <a:pt x="8505" y="440"/>
                    <a:pt x="9173" y="657"/>
                  </a:cubicBezTo>
                  <a:cubicBezTo>
                    <a:pt x="9908" y="891"/>
                    <a:pt x="10610" y="1225"/>
                    <a:pt x="11228" y="1660"/>
                  </a:cubicBezTo>
                  <a:cubicBezTo>
                    <a:pt x="11863" y="2077"/>
                    <a:pt x="12448" y="2595"/>
                    <a:pt x="12933" y="3180"/>
                  </a:cubicBezTo>
                  <a:cubicBezTo>
                    <a:pt x="13384" y="3732"/>
                    <a:pt x="13768" y="4333"/>
                    <a:pt x="14069" y="4985"/>
                  </a:cubicBezTo>
                  <a:cubicBezTo>
                    <a:pt x="14637" y="6238"/>
                    <a:pt x="14737" y="7491"/>
                    <a:pt x="14904" y="8527"/>
                  </a:cubicBezTo>
                  <a:cubicBezTo>
                    <a:pt x="15071" y="9563"/>
                    <a:pt x="15205" y="10398"/>
                    <a:pt x="15305" y="10983"/>
                  </a:cubicBezTo>
                  <a:cubicBezTo>
                    <a:pt x="15339" y="11284"/>
                    <a:pt x="15406" y="11585"/>
                    <a:pt x="15506" y="11869"/>
                  </a:cubicBezTo>
                  <a:cubicBezTo>
                    <a:pt x="15506" y="11568"/>
                    <a:pt x="15489" y="11267"/>
                    <a:pt x="15439" y="10966"/>
                  </a:cubicBezTo>
                  <a:cubicBezTo>
                    <a:pt x="15372" y="10382"/>
                    <a:pt x="15272" y="9529"/>
                    <a:pt x="15138" y="8493"/>
                  </a:cubicBezTo>
                  <a:cubicBezTo>
                    <a:pt x="15055" y="7976"/>
                    <a:pt x="15005" y="7407"/>
                    <a:pt x="14888" y="6789"/>
                  </a:cubicBezTo>
                  <a:cubicBezTo>
                    <a:pt x="14871" y="6639"/>
                    <a:pt x="14838" y="6472"/>
                    <a:pt x="14804" y="6321"/>
                  </a:cubicBezTo>
                  <a:cubicBezTo>
                    <a:pt x="14771" y="6154"/>
                    <a:pt x="14721" y="6004"/>
                    <a:pt x="14670" y="5837"/>
                  </a:cubicBezTo>
                  <a:lnTo>
                    <a:pt x="14604" y="5603"/>
                  </a:lnTo>
                  <a:cubicBezTo>
                    <a:pt x="14587" y="5519"/>
                    <a:pt x="14553" y="5436"/>
                    <a:pt x="14520" y="5352"/>
                  </a:cubicBezTo>
                  <a:cubicBezTo>
                    <a:pt x="14453" y="5202"/>
                    <a:pt x="14403" y="5035"/>
                    <a:pt x="14336" y="4868"/>
                  </a:cubicBezTo>
                  <a:cubicBezTo>
                    <a:pt x="14019" y="4199"/>
                    <a:pt x="13635" y="3564"/>
                    <a:pt x="13167" y="2980"/>
                  </a:cubicBezTo>
                  <a:cubicBezTo>
                    <a:pt x="12665" y="2378"/>
                    <a:pt x="12064" y="1827"/>
                    <a:pt x="11412" y="1392"/>
                  </a:cubicBezTo>
                  <a:cubicBezTo>
                    <a:pt x="10761" y="941"/>
                    <a:pt x="10025" y="590"/>
                    <a:pt x="9274" y="373"/>
                  </a:cubicBezTo>
                  <a:cubicBezTo>
                    <a:pt x="8555" y="139"/>
                    <a:pt x="7837" y="22"/>
                    <a:pt x="7085" y="6"/>
                  </a:cubicBezTo>
                  <a:cubicBezTo>
                    <a:pt x="6807" y="2"/>
                    <a:pt x="6535" y="1"/>
                    <a:pt x="6269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" name="Google Shape;1116;p34"/>
            <p:cNvSpPr/>
            <p:nvPr/>
          </p:nvSpPr>
          <p:spPr>
            <a:xfrm>
              <a:off x="4991597" y="4323881"/>
              <a:ext cx="601418" cy="301526"/>
            </a:xfrm>
            <a:custGeom>
              <a:avLst/>
              <a:gdLst/>
              <a:ahLst/>
              <a:cxnLst/>
              <a:rect l="l" t="t" r="r" b="b"/>
              <a:pathLst>
                <a:path w="18765" h="9408" extrusionOk="0">
                  <a:moveTo>
                    <a:pt x="9374" y="1"/>
                  </a:moveTo>
                  <a:cubicBezTo>
                    <a:pt x="4194" y="1"/>
                    <a:pt x="1" y="4211"/>
                    <a:pt x="17" y="9407"/>
                  </a:cubicBezTo>
                  <a:lnTo>
                    <a:pt x="318" y="9407"/>
                  </a:lnTo>
                  <a:cubicBezTo>
                    <a:pt x="318" y="4395"/>
                    <a:pt x="4378" y="335"/>
                    <a:pt x="9374" y="335"/>
                  </a:cubicBezTo>
                  <a:cubicBezTo>
                    <a:pt x="14387" y="335"/>
                    <a:pt x="18447" y="4395"/>
                    <a:pt x="18447" y="9407"/>
                  </a:cubicBezTo>
                  <a:lnTo>
                    <a:pt x="18748" y="9407"/>
                  </a:lnTo>
                  <a:cubicBezTo>
                    <a:pt x="18764" y="4211"/>
                    <a:pt x="14570" y="1"/>
                    <a:pt x="937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" name="Google Shape;1117;p34"/>
            <p:cNvSpPr/>
            <p:nvPr/>
          </p:nvSpPr>
          <p:spPr>
            <a:xfrm>
              <a:off x="4936984" y="4595377"/>
              <a:ext cx="104996" cy="89868"/>
            </a:xfrm>
            <a:custGeom>
              <a:avLst/>
              <a:gdLst/>
              <a:ahLst/>
              <a:cxnLst/>
              <a:rect l="l" t="t" r="r" b="b"/>
              <a:pathLst>
                <a:path w="3276" h="2804" extrusionOk="0">
                  <a:moveTo>
                    <a:pt x="1872" y="1"/>
                  </a:moveTo>
                  <a:cubicBezTo>
                    <a:pt x="619" y="1"/>
                    <a:pt x="0" y="1504"/>
                    <a:pt x="886" y="2390"/>
                  </a:cubicBezTo>
                  <a:cubicBezTo>
                    <a:pt x="1172" y="2676"/>
                    <a:pt x="1522" y="2803"/>
                    <a:pt x="1865" y="2803"/>
                  </a:cubicBezTo>
                  <a:cubicBezTo>
                    <a:pt x="2585" y="2803"/>
                    <a:pt x="3275" y="2242"/>
                    <a:pt x="3275" y="1404"/>
                  </a:cubicBezTo>
                  <a:cubicBezTo>
                    <a:pt x="3275" y="619"/>
                    <a:pt x="2640" y="1"/>
                    <a:pt x="187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" name="Google Shape;1118;p34"/>
            <p:cNvSpPr/>
            <p:nvPr/>
          </p:nvSpPr>
          <p:spPr>
            <a:xfrm>
              <a:off x="5529781" y="4588967"/>
              <a:ext cx="104996" cy="89964"/>
            </a:xfrm>
            <a:custGeom>
              <a:avLst/>
              <a:gdLst/>
              <a:ahLst/>
              <a:cxnLst/>
              <a:rect l="l" t="t" r="r" b="b"/>
              <a:pathLst>
                <a:path w="3276" h="2807" extrusionOk="0">
                  <a:moveTo>
                    <a:pt x="1872" y="0"/>
                  </a:moveTo>
                  <a:cubicBezTo>
                    <a:pt x="619" y="0"/>
                    <a:pt x="1" y="1504"/>
                    <a:pt x="870" y="2390"/>
                  </a:cubicBezTo>
                  <a:cubicBezTo>
                    <a:pt x="1157" y="2677"/>
                    <a:pt x="1512" y="2806"/>
                    <a:pt x="1860" y="2806"/>
                  </a:cubicBezTo>
                  <a:cubicBezTo>
                    <a:pt x="2583" y="2806"/>
                    <a:pt x="3276" y="2250"/>
                    <a:pt x="3276" y="1404"/>
                  </a:cubicBezTo>
                  <a:cubicBezTo>
                    <a:pt x="3276" y="635"/>
                    <a:pt x="2641" y="0"/>
                    <a:pt x="187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" name="Google Shape;1119;p34"/>
            <p:cNvSpPr/>
            <p:nvPr/>
          </p:nvSpPr>
          <p:spPr>
            <a:xfrm>
              <a:off x="5006052" y="4548808"/>
              <a:ext cx="583214" cy="4840"/>
            </a:xfrm>
            <a:custGeom>
              <a:avLst/>
              <a:gdLst/>
              <a:ahLst/>
              <a:cxnLst/>
              <a:rect l="l" t="t" r="r" b="b"/>
              <a:pathLst>
                <a:path w="18197" h="151" extrusionOk="0">
                  <a:moveTo>
                    <a:pt x="9107" y="0"/>
                  </a:moveTo>
                  <a:cubicBezTo>
                    <a:pt x="4078" y="0"/>
                    <a:pt x="1" y="33"/>
                    <a:pt x="1" y="67"/>
                  </a:cubicBezTo>
                  <a:cubicBezTo>
                    <a:pt x="1" y="117"/>
                    <a:pt x="4078" y="150"/>
                    <a:pt x="9107" y="150"/>
                  </a:cubicBezTo>
                  <a:cubicBezTo>
                    <a:pt x="14119" y="150"/>
                    <a:pt x="18196" y="117"/>
                    <a:pt x="18196" y="67"/>
                  </a:cubicBezTo>
                  <a:cubicBezTo>
                    <a:pt x="18196" y="33"/>
                    <a:pt x="14136" y="0"/>
                    <a:pt x="9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" name="Google Shape;1120;p34"/>
            <p:cNvSpPr/>
            <p:nvPr/>
          </p:nvSpPr>
          <p:spPr>
            <a:xfrm>
              <a:off x="4541776" y="2672184"/>
              <a:ext cx="83042" cy="176403"/>
            </a:xfrm>
            <a:custGeom>
              <a:avLst/>
              <a:gdLst/>
              <a:ahLst/>
              <a:cxnLst/>
              <a:rect l="l" t="t" r="r" b="b"/>
              <a:pathLst>
                <a:path w="2591" h="5504" extrusionOk="0">
                  <a:moveTo>
                    <a:pt x="1449" y="0"/>
                  </a:moveTo>
                  <a:cubicBezTo>
                    <a:pt x="668" y="0"/>
                    <a:pt x="48" y="1709"/>
                    <a:pt x="17" y="2696"/>
                  </a:cubicBezTo>
                  <a:cubicBezTo>
                    <a:pt x="0" y="3365"/>
                    <a:pt x="51" y="4668"/>
                    <a:pt x="802" y="5504"/>
                  </a:cubicBezTo>
                  <a:cubicBezTo>
                    <a:pt x="1521" y="4768"/>
                    <a:pt x="2206" y="3833"/>
                    <a:pt x="2440" y="2847"/>
                  </a:cubicBezTo>
                  <a:cubicBezTo>
                    <a:pt x="2574" y="2329"/>
                    <a:pt x="2590" y="1794"/>
                    <a:pt x="2473" y="1276"/>
                  </a:cubicBezTo>
                  <a:cubicBezTo>
                    <a:pt x="2373" y="758"/>
                    <a:pt x="2056" y="307"/>
                    <a:pt x="1604" y="23"/>
                  </a:cubicBezTo>
                  <a:cubicBezTo>
                    <a:pt x="1552" y="8"/>
                    <a:pt x="1500" y="0"/>
                    <a:pt x="144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" name="Google Shape;1121;p34"/>
            <p:cNvSpPr/>
            <p:nvPr/>
          </p:nvSpPr>
          <p:spPr>
            <a:xfrm>
              <a:off x="4591037" y="2844998"/>
              <a:ext cx="103938" cy="66023"/>
            </a:xfrm>
            <a:custGeom>
              <a:avLst/>
              <a:gdLst/>
              <a:ahLst/>
              <a:cxnLst/>
              <a:rect l="l" t="t" r="r" b="b"/>
              <a:pathLst>
                <a:path w="3243" h="2060" extrusionOk="0">
                  <a:moveTo>
                    <a:pt x="2009" y="0"/>
                  </a:moveTo>
                  <a:cubicBezTo>
                    <a:pt x="1572" y="0"/>
                    <a:pt x="1143" y="126"/>
                    <a:pt x="769" y="362"/>
                  </a:cubicBezTo>
                  <a:cubicBezTo>
                    <a:pt x="285" y="713"/>
                    <a:pt x="1" y="1281"/>
                    <a:pt x="51" y="1883"/>
                  </a:cubicBezTo>
                  <a:cubicBezTo>
                    <a:pt x="334" y="2006"/>
                    <a:pt x="621" y="2059"/>
                    <a:pt x="908" y="2059"/>
                  </a:cubicBezTo>
                  <a:cubicBezTo>
                    <a:pt x="1436" y="2059"/>
                    <a:pt x="1965" y="1881"/>
                    <a:pt x="2473" y="1632"/>
                  </a:cubicBezTo>
                  <a:cubicBezTo>
                    <a:pt x="2707" y="1532"/>
                    <a:pt x="2908" y="1381"/>
                    <a:pt x="3058" y="1181"/>
                  </a:cubicBezTo>
                  <a:cubicBezTo>
                    <a:pt x="3209" y="964"/>
                    <a:pt x="3242" y="696"/>
                    <a:pt x="3142" y="462"/>
                  </a:cubicBezTo>
                  <a:cubicBezTo>
                    <a:pt x="2975" y="228"/>
                    <a:pt x="2741" y="78"/>
                    <a:pt x="2457" y="45"/>
                  </a:cubicBezTo>
                  <a:cubicBezTo>
                    <a:pt x="2308" y="15"/>
                    <a:pt x="2158" y="0"/>
                    <a:pt x="200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" name="Google Shape;1122;p34"/>
            <p:cNvSpPr/>
            <p:nvPr/>
          </p:nvSpPr>
          <p:spPr>
            <a:xfrm>
              <a:off x="4551936" y="2875990"/>
              <a:ext cx="97496" cy="100060"/>
            </a:xfrm>
            <a:custGeom>
              <a:avLst/>
              <a:gdLst/>
              <a:ahLst/>
              <a:cxnLst/>
              <a:rect l="l" t="t" r="r" b="b"/>
              <a:pathLst>
                <a:path w="3042" h="3122" extrusionOk="0">
                  <a:moveTo>
                    <a:pt x="2939" y="1"/>
                  </a:moveTo>
                  <a:cubicBezTo>
                    <a:pt x="2908" y="1"/>
                    <a:pt x="2875" y="5"/>
                    <a:pt x="2841" y="13"/>
                  </a:cubicBezTo>
                  <a:cubicBezTo>
                    <a:pt x="2691" y="47"/>
                    <a:pt x="2524" y="80"/>
                    <a:pt x="2373" y="147"/>
                  </a:cubicBezTo>
                  <a:cubicBezTo>
                    <a:pt x="1856" y="348"/>
                    <a:pt x="1404" y="682"/>
                    <a:pt x="1054" y="1099"/>
                  </a:cubicBezTo>
                  <a:cubicBezTo>
                    <a:pt x="870" y="1333"/>
                    <a:pt x="686" y="1567"/>
                    <a:pt x="536" y="1818"/>
                  </a:cubicBezTo>
                  <a:cubicBezTo>
                    <a:pt x="402" y="2018"/>
                    <a:pt x="285" y="2252"/>
                    <a:pt x="201" y="2470"/>
                  </a:cubicBezTo>
                  <a:cubicBezTo>
                    <a:pt x="118" y="2687"/>
                    <a:pt x="51" y="2904"/>
                    <a:pt x="1" y="3121"/>
                  </a:cubicBezTo>
                  <a:cubicBezTo>
                    <a:pt x="118" y="2921"/>
                    <a:pt x="201" y="2720"/>
                    <a:pt x="268" y="2503"/>
                  </a:cubicBezTo>
                  <a:cubicBezTo>
                    <a:pt x="368" y="2286"/>
                    <a:pt x="485" y="2069"/>
                    <a:pt x="619" y="1885"/>
                  </a:cubicBezTo>
                  <a:cubicBezTo>
                    <a:pt x="786" y="1634"/>
                    <a:pt x="953" y="1400"/>
                    <a:pt x="1137" y="1166"/>
                  </a:cubicBezTo>
                  <a:cubicBezTo>
                    <a:pt x="1488" y="765"/>
                    <a:pt x="1922" y="431"/>
                    <a:pt x="2407" y="214"/>
                  </a:cubicBezTo>
                  <a:cubicBezTo>
                    <a:pt x="2774" y="47"/>
                    <a:pt x="3042" y="30"/>
                    <a:pt x="3025" y="13"/>
                  </a:cubicBezTo>
                  <a:cubicBezTo>
                    <a:pt x="3000" y="5"/>
                    <a:pt x="2971" y="1"/>
                    <a:pt x="293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" name="Google Shape;1123;p34"/>
            <p:cNvSpPr/>
            <p:nvPr/>
          </p:nvSpPr>
          <p:spPr>
            <a:xfrm>
              <a:off x="4549275" y="2720035"/>
              <a:ext cx="31633" cy="275277"/>
            </a:xfrm>
            <a:custGeom>
              <a:avLst/>
              <a:gdLst/>
              <a:ahLst/>
              <a:cxnLst/>
              <a:rect l="l" t="t" r="r" b="b"/>
              <a:pathLst>
                <a:path w="987" h="8589" extrusionOk="0">
                  <a:moveTo>
                    <a:pt x="969" y="0"/>
                  </a:moveTo>
                  <a:cubicBezTo>
                    <a:pt x="936" y="117"/>
                    <a:pt x="919" y="234"/>
                    <a:pt x="919" y="351"/>
                  </a:cubicBezTo>
                  <a:cubicBezTo>
                    <a:pt x="903" y="585"/>
                    <a:pt x="869" y="886"/>
                    <a:pt x="819" y="1270"/>
                  </a:cubicBezTo>
                  <a:cubicBezTo>
                    <a:pt x="736" y="2056"/>
                    <a:pt x="635" y="3125"/>
                    <a:pt x="518" y="4295"/>
                  </a:cubicBezTo>
                  <a:cubicBezTo>
                    <a:pt x="385" y="5481"/>
                    <a:pt x="251" y="6550"/>
                    <a:pt x="151" y="7319"/>
                  </a:cubicBezTo>
                  <a:cubicBezTo>
                    <a:pt x="101" y="7703"/>
                    <a:pt x="67" y="8004"/>
                    <a:pt x="34" y="8238"/>
                  </a:cubicBezTo>
                  <a:cubicBezTo>
                    <a:pt x="0" y="8355"/>
                    <a:pt x="0" y="8472"/>
                    <a:pt x="0" y="8589"/>
                  </a:cubicBezTo>
                  <a:cubicBezTo>
                    <a:pt x="34" y="8472"/>
                    <a:pt x="50" y="8355"/>
                    <a:pt x="67" y="8254"/>
                  </a:cubicBezTo>
                  <a:cubicBezTo>
                    <a:pt x="117" y="8037"/>
                    <a:pt x="167" y="7720"/>
                    <a:pt x="234" y="7336"/>
                  </a:cubicBezTo>
                  <a:cubicBezTo>
                    <a:pt x="351" y="6567"/>
                    <a:pt x="502" y="5498"/>
                    <a:pt x="635" y="4311"/>
                  </a:cubicBezTo>
                  <a:cubicBezTo>
                    <a:pt x="752" y="3125"/>
                    <a:pt x="852" y="2056"/>
                    <a:pt x="903" y="1270"/>
                  </a:cubicBezTo>
                  <a:cubicBezTo>
                    <a:pt x="936" y="886"/>
                    <a:pt x="953" y="569"/>
                    <a:pt x="969" y="351"/>
                  </a:cubicBezTo>
                  <a:cubicBezTo>
                    <a:pt x="969" y="234"/>
                    <a:pt x="986" y="117"/>
                    <a:pt x="96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" name="Google Shape;1124;p34"/>
            <p:cNvSpPr/>
            <p:nvPr/>
          </p:nvSpPr>
          <p:spPr>
            <a:xfrm>
              <a:off x="4444312" y="2818589"/>
              <a:ext cx="106598" cy="96951"/>
            </a:xfrm>
            <a:custGeom>
              <a:avLst/>
              <a:gdLst/>
              <a:ahLst/>
              <a:cxnLst/>
              <a:rect l="l" t="t" r="r" b="b"/>
              <a:pathLst>
                <a:path w="3326" h="3025" extrusionOk="0">
                  <a:moveTo>
                    <a:pt x="605" y="0"/>
                  </a:moveTo>
                  <a:cubicBezTo>
                    <a:pt x="468" y="0"/>
                    <a:pt x="338" y="37"/>
                    <a:pt x="234" y="134"/>
                  </a:cubicBezTo>
                  <a:cubicBezTo>
                    <a:pt x="0" y="351"/>
                    <a:pt x="67" y="735"/>
                    <a:pt x="184" y="1019"/>
                  </a:cubicBezTo>
                  <a:cubicBezTo>
                    <a:pt x="713" y="2243"/>
                    <a:pt x="1930" y="3024"/>
                    <a:pt x="3250" y="3024"/>
                  </a:cubicBezTo>
                  <a:cubicBezTo>
                    <a:pt x="3264" y="3024"/>
                    <a:pt x="3278" y="3024"/>
                    <a:pt x="3292" y="3024"/>
                  </a:cubicBezTo>
                  <a:lnTo>
                    <a:pt x="3325" y="2941"/>
                  </a:lnTo>
                  <a:cubicBezTo>
                    <a:pt x="3075" y="1704"/>
                    <a:pt x="2273" y="668"/>
                    <a:pt x="1120" y="134"/>
                  </a:cubicBezTo>
                  <a:cubicBezTo>
                    <a:pt x="962" y="59"/>
                    <a:pt x="777" y="0"/>
                    <a:pt x="60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5" name="Google Shape;1125;p34"/>
            <p:cNvSpPr/>
            <p:nvPr/>
          </p:nvSpPr>
          <p:spPr>
            <a:xfrm>
              <a:off x="4487163" y="2851248"/>
              <a:ext cx="70157" cy="117303"/>
            </a:xfrm>
            <a:custGeom>
              <a:avLst/>
              <a:gdLst/>
              <a:ahLst/>
              <a:cxnLst/>
              <a:rect l="l" t="t" r="r" b="b"/>
              <a:pathLst>
                <a:path w="2189" h="3660" extrusionOk="0">
                  <a:moveTo>
                    <a:pt x="0" y="0"/>
                  </a:moveTo>
                  <a:lnTo>
                    <a:pt x="0" y="0"/>
                  </a:lnTo>
                  <a:cubicBezTo>
                    <a:pt x="167" y="150"/>
                    <a:pt x="351" y="284"/>
                    <a:pt x="535" y="418"/>
                  </a:cubicBezTo>
                  <a:cubicBezTo>
                    <a:pt x="953" y="719"/>
                    <a:pt x="1320" y="1103"/>
                    <a:pt x="1621" y="1537"/>
                  </a:cubicBezTo>
                  <a:cubicBezTo>
                    <a:pt x="1788" y="1771"/>
                    <a:pt x="1905" y="2039"/>
                    <a:pt x="1988" y="2306"/>
                  </a:cubicBezTo>
                  <a:cubicBezTo>
                    <a:pt x="2055" y="2540"/>
                    <a:pt x="2089" y="2774"/>
                    <a:pt x="2089" y="3008"/>
                  </a:cubicBezTo>
                  <a:cubicBezTo>
                    <a:pt x="2089" y="3409"/>
                    <a:pt x="2039" y="3659"/>
                    <a:pt x="2055" y="3659"/>
                  </a:cubicBezTo>
                  <a:cubicBezTo>
                    <a:pt x="2089" y="3609"/>
                    <a:pt x="2105" y="3559"/>
                    <a:pt x="2105" y="3492"/>
                  </a:cubicBezTo>
                  <a:cubicBezTo>
                    <a:pt x="2189" y="3091"/>
                    <a:pt x="2189" y="2673"/>
                    <a:pt x="2089" y="2289"/>
                  </a:cubicBezTo>
                  <a:cubicBezTo>
                    <a:pt x="2005" y="1988"/>
                    <a:pt x="1888" y="1721"/>
                    <a:pt x="1721" y="1470"/>
                  </a:cubicBezTo>
                  <a:cubicBezTo>
                    <a:pt x="1420" y="1036"/>
                    <a:pt x="1019" y="652"/>
                    <a:pt x="585" y="351"/>
                  </a:cubicBezTo>
                  <a:cubicBezTo>
                    <a:pt x="401" y="234"/>
                    <a:pt x="267" y="134"/>
                    <a:pt x="167" y="84"/>
                  </a:cubicBezTo>
                  <a:cubicBezTo>
                    <a:pt x="117" y="50"/>
                    <a:pt x="67" y="17"/>
                    <a:pt x="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6" name="Google Shape;1126;p34"/>
            <p:cNvSpPr/>
            <p:nvPr/>
          </p:nvSpPr>
          <p:spPr>
            <a:xfrm>
              <a:off x="4426652" y="2977621"/>
              <a:ext cx="241529" cy="241529"/>
            </a:xfrm>
            <a:custGeom>
              <a:avLst/>
              <a:gdLst/>
              <a:ahLst/>
              <a:cxnLst/>
              <a:rect l="l" t="t" r="r" b="b"/>
              <a:pathLst>
                <a:path w="7536" h="7536" extrusionOk="0">
                  <a:moveTo>
                    <a:pt x="0" y="0"/>
                  </a:moveTo>
                  <a:lnTo>
                    <a:pt x="0" y="3776"/>
                  </a:lnTo>
                  <a:cubicBezTo>
                    <a:pt x="0" y="5848"/>
                    <a:pt x="1688" y="7536"/>
                    <a:pt x="3776" y="7536"/>
                  </a:cubicBezTo>
                  <a:cubicBezTo>
                    <a:pt x="5848" y="7536"/>
                    <a:pt x="7536" y="5848"/>
                    <a:pt x="7536" y="3776"/>
                  </a:cubicBezTo>
                  <a:lnTo>
                    <a:pt x="7536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7" name="Google Shape;1127;p34"/>
            <p:cNvSpPr/>
            <p:nvPr/>
          </p:nvSpPr>
          <p:spPr>
            <a:xfrm>
              <a:off x="4426652" y="3034926"/>
              <a:ext cx="241529" cy="46601"/>
            </a:xfrm>
            <a:custGeom>
              <a:avLst/>
              <a:gdLst/>
              <a:ahLst/>
              <a:cxnLst/>
              <a:rect l="l" t="t" r="r" b="b"/>
              <a:pathLst>
                <a:path w="7536" h="1454" extrusionOk="0">
                  <a:moveTo>
                    <a:pt x="3759" y="0"/>
                  </a:moveTo>
                  <a:lnTo>
                    <a:pt x="3743" y="17"/>
                  </a:lnTo>
                  <a:cubicBezTo>
                    <a:pt x="3002" y="494"/>
                    <a:pt x="2326" y="939"/>
                    <a:pt x="1747" y="1336"/>
                  </a:cubicBezTo>
                  <a:lnTo>
                    <a:pt x="1747" y="1336"/>
                  </a:lnTo>
                  <a:lnTo>
                    <a:pt x="501" y="401"/>
                  </a:lnTo>
                  <a:cubicBezTo>
                    <a:pt x="351" y="301"/>
                    <a:pt x="234" y="217"/>
                    <a:pt x="134" y="150"/>
                  </a:cubicBezTo>
                  <a:cubicBezTo>
                    <a:pt x="100" y="117"/>
                    <a:pt x="50" y="84"/>
                    <a:pt x="0" y="67"/>
                  </a:cubicBezTo>
                  <a:lnTo>
                    <a:pt x="0" y="67"/>
                  </a:lnTo>
                  <a:cubicBezTo>
                    <a:pt x="0" y="67"/>
                    <a:pt x="33" y="117"/>
                    <a:pt x="117" y="167"/>
                  </a:cubicBezTo>
                  <a:cubicBezTo>
                    <a:pt x="217" y="251"/>
                    <a:pt x="334" y="351"/>
                    <a:pt x="468" y="451"/>
                  </a:cubicBezTo>
                  <a:lnTo>
                    <a:pt x="1704" y="1437"/>
                  </a:lnTo>
                  <a:lnTo>
                    <a:pt x="1738" y="1454"/>
                  </a:lnTo>
                  <a:lnTo>
                    <a:pt x="1771" y="1437"/>
                  </a:lnTo>
                  <a:cubicBezTo>
                    <a:pt x="2348" y="1058"/>
                    <a:pt x="3038" y="615"/>
                    <a:pt x="3777" y="138"/>
                  </a:cubicBezTo>
                  <a:lnTo>
                    <a:pt x="3777" y="138"/>
                  </a:lnTo>
                  <a:cubicBezTo>
                    <a:pt x="4566" y="615"/>
                    <a:pt x="5306" y="1058"/>
                    <a:pt x="5932" y="1437"/>
                  </a:cubicBezTo>
                  <a:lnTo>
                    <a:pt x="5965" y="1454"/>
                  </a:lnTo>
                  <a:lnTo>
                    <a:pt x="5982" y="1437"/>
                  </a:lnTo>
                  <a:lnTo>
                    <a:pt x="7118" y="451"/>
                  </a:lnTo>
                  <a:cubicBezTo>
                    <a:pt x="7252" y="334"/>
                    <a:pt x="7352" y="251"/>
                    <a:pt x="7435" y="167"/>
                  </a:cubicBezTo>
                  <a:cubicBezTo>
                    <a:pt x="7502" y="117"/>
                    <a:pt x="7536" y="67"/>
                    <a:pt x="7536" y="67"/>
                  </a:cubicBezTo>
                  <a:lnTo>
                    <a:pt x="7536" y="67"/>
                  </a:lnTo>
                  <a:cubicBezTo>
                    <a:pt x="7486" y="84"/>
                    <a:pt x="7452" y="117"/>
                    <a:pt x="7419" y="150"/>
                  </a:cubicBezTo>
                  <a:lnTo>
                    <a:pt x="7084" y="401"/>
                  </a:lnTo>
                  <a:cubicBezTo>
                    <a:pt x="6790" y="647"/>
                    <a:pt x="6399" y="956"/>
                    <a:pt x="5944" y="1330"/>
                  </a:cubicBezTo>
                  <a:lnTo>
                    <a:pt x="5944" y="1330"/>
                  </a:lnTo>
                  <a:lnTo>
                    <a:pt x="3810" y="17"/>
                  </a:lnTo>
                  <a:lnTo>
                    <a:pt x="3793" y="17"/>
                  </a:lnTo>
                  <a:lnTo>
                    <a:pt x="3759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8" name="Google Shape;1128;p34"/>
            <p:cNvSpPr/>
            <p:nvPr/>
          </p:nvSpPr>
          <p:spPr>
            <a:xfrm>
              <a:off x="4426652" y="3010825"/>
              <a:ext cx="241529" cy="46601"/>
            </a:xfrm>
            <a:custGeom>
              <a:avLst/>
              <a:gdLst/>
              <a:ahLst/>
              <a:cxnLst/>
              <a:rect l="l" t="t" r="r" b="b"/>
              <a:pathLst>
                <a:path w="7536" h="1454" extrusionOk="0">
                  <a:moveTo>
                    <a:pt x="3759" y="0"/>
                  </a:moveTo>
                  <a:lnTo>
                    <a:pt x="3743" y="17"/>
                  </a:lnTo>
                  <a:cubicBezTo>
                    <a:pt x="3002" y="494"/>
                    <a:pt x="2326" y="939"/>
                    <a:pt x="1747" y="1336"/>
                  </a:cubicBezTo>
                  <a:lnTo>
                    <a:pt x="1747" y="1336"/>
                  </a:lnTo>
                  <a:lnTo>
                    <a:pt x="501" y="401"/>
                  </a:lnTo>
                  <a:lnTo>
                    <a:pt x="134" y="151"/>
                  </a:lnTo>
                  <a:cubicBezTo>
                    <a:pt x="100" y="117"/>
                    <a:pt x="50" y="84"/>
                    <a:pt x="0" y="67"/>
                  </a:cubicBezTo>
                  <a:lnTo>
                    <a:pt x="0" y="67"/>
                  </a:lnTo>
                  <a:cubicBezTo>
                    <a:pt x="33" y="100"/>
                    <a:pt x="84" y="151"/>
                    <a:pt x="117" y="167"/>
                  </a:cubicBezTo>
                  <a:cubicBezTo>
                    <a:pt x="217" y="251"/>
                    <a:pt x="334" y="351"/>
                    <a:pt x="468" y="451"/>
                  </a:cubicBezTo>
                  <a:cubicBezTo>
                    <a:pt x="785" y="702"/>
                    <a:pt x="1203" y="1036"/>
                    <a:pt x="1704" y="1437"/>
                  </a:cubicBezTo>
                  <a:lnTo>
                    <a:pt x="1738" y="1454"/>
                  </a:lnTo>
                  <a:lnTo>
                    <a:pt x="1771" y="1437"/>
                  </a:lnTo>
                  <a:cubicBezTo>
                    <a:pt x="2348" y="1058"/>
                    <a:pt x="3038" y="615"/>
                    <a:pt x="3777" y="138"/>
                  </a:cubicBezTo>
                  <a:lnTo>
                    <a:pt x="3777" y="138"/>
                  </a:lnTo>
                  <a:cubicBezTo>
                    <a:pt x="4566" y="615"/>
                    <a:pt x="5306" y="1058"/>
                    <a:pt x="5932" y="1437"/>
                  </a:cubicBezTo>
                  <a:lnTo>
                    <a:pt x="5965" y="1454"/>
                  </a:lnTo>
                  <a:lnTo>
                    <a:pt x="5982" y="1437"/>
                  </a:lnTo>
                  <a:cubicBezTo>
                    <a:pt x="6450" y="1036"/>
                    <a:pt x="6834" y="702"/>
                    <a:pt x="7118" y="451"/>
                  </a:cubicBezTo>
                  <a:lnTo>
                    <a:pt x="7435" y="167"/>
                  </a:lnTo>
                  <a:cubicBezTo>
                    <a:pt x="7502" y="100"/>
                    <a:pt x="7536" y="67"/>
                    <a:pt x="7536" y="67"/>
                  </a:cubicBezTo>
                  <a:lnTo>
                    <a:pt x="7536" y="67"/>
                  </a:lnTo>
                  <a:cubicBezTo>
                    <a:pt x="7486" y="84"/>
                    <a:pt x="7452" y="117"/>
                    <a:pt x="7419" y="151"/>
                  </a:cubicBezTo>
                  <a:lnTo>
                    <a:pt x="7084" y="401"/>
                  </a:lnTo>
                  <a:lnTo>
                    <a:pt x="5944" y="1330"/>
                  </a:lnTo>
                  <a:lnTo>
                    <a:pt x="5944" y="1330"/>
                  </a:lnTo>
                  <a:lnTo>
                    <a:pt x="3810" y="17"/>
                  </a:lnTo>
                  <a:lnTo>
                    <a:pt x="3793" y="17"/>
                  </a:lnTo>
                  <a:lnTo>
                    <a:pt x="3759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9" name="Google Shape;1129;p34"/>
            <p:cNvSpPr/>
            <p:nvPr/>
          </p:nvSpPr>
          <p:spPr>
            <a:xfrm>
              <a:off x="4426652" y="3059541"/>
              <a:ext cx="241529" cy="46633"/>
            </a:xfrm>
            <a:custGeom>
              <a:avLst/>
              <a:gdLst/>
              <a:ahLst/>
              <a:cxnLst/>
              <a:rect l="l" t="t" r="r" b="b"/>
              <a:pathLst>
                <a:path w="7536" h="1455" extrusionOk="0">
                  <a:moveTo>
                    <a:pt x="3759" y="1"/>
                  </a:moveTo>
                  <a:lnTo>
                    <a:pt x="3743" y="17"/>
                  </a:lnTo>
                  <a:lnTo>
                    <a:pt x="1736" y="1328"/>
                  </a:lnTo>
                  <a:lnTo>
                    <a:pt x="1736" y="1328"/>
                  </a:lnTo>
                  <a:lnTo>
                    <a:pt x="501" y="402"/>
                  </a:lnTo>
                  <a:cubicBezTo>
                    <a:pt x="351" y="301"/>
                    <a:pt x="234" y="218"/>
                    <a:pt x="134" y="151"/>
                  </a:cubicBezTo>
                  <a:cubicBezTo>
                    <a:pt x="100" y="118"/>
                    <a:pt x="50" y="84"/>
                    <a:pt x="0" y="68"/>
                  </a:cubicBezTo>
                  <a:lnTo>
                    <a:pt x="0" y="68"/>
                  </a:lnTo>
                  <a:cubicBezTo>
                    <a:pt x="0" y="68"/>
                    <a:pt x="34" y="101"/>
                    <a:pt x="117" y="168"/>
                  </a:cubicBezTo>
                  <a:lnTo>
                    <a:pt x="468" y="452"/>
                  </a:lnTo>
                  <a:cubicBezTo>
                    <a:pt x="785" y="702"/>
                    <a:pt x="1203" y="1037"/>
                    <a:pt x="1704" y="1438"/>
                  </a:cubicBezTo>
                  <a:lnTo>
                    <a:pt x="1738" y="1454"/>
                  </a:lnTo>
                  <a:lnTo>
                    <a:pt x="1771" y="1438"/>
                  </a:lnTo>
                  <a:cubicBezTo>
                    <a:pt x="2348" y="1059"/>
                    <a:pt x="3038" y="615"/>
                    <a:pt x="3777" y="138"/>
                  </a:cubicBezTo>
                  <a:lnTo>
                    <a:pt x="3777" y="138"/>
                  </a:lnTo>
                  <a:cubicBezTo>
                    <a:pt x="4566" y="615"/>
                    <a:pt x="5306" y="1059"/>
                    <a:pt x="5932" y="1438"/>
                  </a:cubicBezTo>
                  <a:lnTo>
                    <a:pt x="5965" y="1454"/>
                  </a:lnTo>
                  <a:lnTo>
                    <a:pt x="5982" y="1421"/>
                  </a:lnTo>
                  <a:lnTo>
                    <a:pt x="7118" y="452"/>
                  </a:lnTo>
                  <a:cubicBezTo>
                    <a:pt x="7252" y="335"/>
                    <a:pt x="7352" y="251"/>
                    <a:pt x="7435" y="168"/>
                  </a:cubicBezTo>
                  <a:cubicBezTo>
                    <a:pt x="7502" y="101"/>
                    <a:pt x="7536" y="68"/>
                    <a:pt x="7536" y="68"/>
                  </a:cubicBezTo>
                  <a:lnTo>
                    <a:pt x="7536" y="68"/>
                  </a:lnTo>
                  <a:cubicBezTo>
                    <a:pt x="7486" y="84"/>
                    <a:pt x="7452" y="118"/>
                    <a:pt x="7419" y="151"/>
                  </a:cubicBezTo>
                  <a:lnTo>
                    <a:pt x="7084" y="402"/>
                  </a:lnTo>
                  <a:lnTo>
                    <a:pt x="5944" y="1331"/>
                  </a:lnTo>
                  <a:lnTo>
                    <a:pt x="5944" y="1331"/>
                  </a:lnTo>
                  <a:lnTo>
                    <a:pt x="3810" y="17"/>
                  </a:lnTo>
                  <a:lnTo>
                    <a:pt x="3793" y="17"/>
                  </a:lnTo>
                  <a:lnTo>
                    <a:pt x="3759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" name="Google Shape;1130;p34"/>
            <p:cNvSpPr/>
            <p:nvPr/>
          </p:nvSpPr>
          <p:spPr>
            <a:xfrm>
              <a:off x="7679310" y="3501895"/>
              <a:ext cx="352935" cy="864805"/>
            </a:xfrm>
            <a:custGeom>
              <a:avLst/>
              <a:gdLst/>
              <a:ahLst/>
              <a:cxnLst/>
              <a:rect l="l" t="t" r="r" b="b"/>
              <a:pathLst>
                <a:path w="11012" h="26983" extrusionOk="0">
                  <a:moveTo>
                    <a:pt x="4046" y="0"/>
                  </a:moveTo>
                  <a:cubicBezTo>
                    <a:pt x="3910" y="0"/>
                    <a:pt x="3770" y="6"/>
                    <a:pt x="3627" y="17"/>
                  </a:cubicBezTo>
                  <a:cubicBezTo>
                    <a:pt x="2056" y="267"/>
                    <a:pt x="1371" y="2189"/>
                    <a:pt x="1505" y="3759"/>
                  </a:cubicBezTo>
                  <a:cubicBezTo>
                    <a:pt x="1638" y="5347"/>
                    <a:pt x="2290" y="6884"/>
                    <a:pt x="2106" y="8454"/>
                  </a:cubicBezTo>
                  <a:cubicBezTo>
                    <a:pt x="1889" y="10443"/>
                    <a:pt x="385" y="12130"/>
                    <a:pt x="201" y="14135"/>
                  </a:cubicBezTo>
                  <a:cubicBezTo>
                    <a:pt x="1" y="16491"/>
                    <a:pt x="1672" y="18580"/>
                    <a:pt x="2173" y="20902"/>
                  </a:cubicBezTo>
                  <a:cubicBezTo>
                    <a:pt x="2407" y="22022"/>
                    <a:pt x="2374" y="23208"/>
                    <a:pt x="2791" y="24294"/>
                  </a:cubicBezTo>
                  <a:cubicBezTo>
                    <a:pt x="3435" y="25933"/>
                    <a:pt x="5027" y="26982"/>
                    <a:pt x="6748" y="26982"/>
                  </a:cubicBezTo>
                  <a:cubicBezTo>
                    <a:pt x="6992" y="26982"/>
                    <a:pt x="7239" y="26961"/>
                    <a:pt x="7486" y="26917"/>
                  </a:cubicBezTo>
                  <a:cubicBezTo>
                    <a:pt x="9475" y="26566"/>
                    <a:pt x="10945" y="24845"/>
                    <a:pt x="10978" y="22824"/>
                  </a:cubicBezTo>
                  <a:cubicBezTo>
                    <a:pt x="11012" y="21019"/>
                    <a:pt x="9892" y="19315"/>
                    <a:pt x="10026" y="17494"/>
                  </a:cubicBezTo>
                  <a:cubicBezTo>
                    <a:pt x="10126" y="16174"/>
                    <a:pt x="10912" y="14904"/>
                    <a:pt x="10745" y="13567"/>
                  </a:cubicBezTo>
                  <a:cubicBezTo>
                    <a:pt x="10544" y="11997"/>
                    <a:pt x="9090" y="10877"/>
                    <a:pt x="8572" y="9357"/>
                  </a:cubicBezTo>
                  <a:cubicBezTo>
                    <a:pt x="8054" y="7853"/>
                    <a:pt x="8539" y="6199"/>
                    <a:pt x="8372" y="4611"/>
                  </a:cubicBezTo>
                  <a:cubicBezTo>
                    <a:pt x="8070" y="1914"/>
                    <a:pt x="6624" y="0"/>
                    <a:pt x="404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" name="Google Shape;1131;p34"/>
            <p:cNvSpPr/>
            <p:nvPr/>
          </p:nvSpPr>
          <p:spPr>
            <a:xfrm>
              <a:off x="7531528" y="3943127"/>
              <a:ext cx="304731" cy="424727"/>
            </a:xfrm>
            <a:custGeom>
              <a:avLst/>
              <a:gdLst/>
              <a:ahLst/>
              <a:cxnLst/>
              <a:rect l="l" t="t" r="r" b="b"/>
              <a:pathLst>
                <a:path w="9508" h="13252" extrusionOk="0">
                  <a:moveTo>
                    <a:pt x="268" y="1"/>
                  </a:moveTo>
                  <a:lnTo>
                    <a:pt x="268" y="1"/>
                  </a:lnTo>
                  <a:cubicBezTo>
                    <a:pt x="0" y="2641"/>
                    <a:pt x="1170" y="5732"/>
                    <a:pt x="2523" y="8004"/>
                  </a:cubicBezTo>
                  <a:cubicBezTo>
                    <a:pt x="3893" y="10293"/>
                    <a:pt x="5949" y="12081"/>
                    <a:pt x="8405" y="13117"/>
                  </a:cubicBezTo>
                  <a:cubicBezTo>
                    <a:pt x="8576" y="13187"/>
                    <a:pt x="8765" y="13252"/>
                    <a:pt x="8939" y="13252"/>
                  </a:cubicBezTo>
                  <a:cubicBezTo>
                    <a:pt x="9055" y="13252"/>
                    <a:pt x="9164" y="13224"/>
                    <a:pt x="9257" y="13150"/>
                  </a:cubicBezTo>
                  <a:cubicBezTo>
                    <a:pt x="9441" y="12983"/>
                    <a:pt x="9474" y="12716"/>
                    <a:pt x="9474" y="12465"/>
                  </a:cubicBezTo>
                  <a:cubicBezTo>
                    <a:pt x="9508" y="6734"/>
                    <a:pt x="5765" y="1655"/>
                    <a:pt x="26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" name="Google Shape;1132;p34"/>
            <p:cNvSpPr/>
            <p:nvPr/>
          </p:nvSpPr>
          <p:spPr>
            <a:xfrm>
              <a:off x="7531528" y="3943127"/>
              <a:ext cx="304731" cy="424727"/>
            </a:xfrm>
            <a:custGeom>
              <a:avLst/>
              <a:gdLst/>
              <a:ahLst/>
              <a:cxnLst/>
              <a:rect l="l" t="t" r="r" b="b"/>
              <a:pathLst>
                <a:path w="9508" h="13252" extrusionOk="0">
                  <a:moveTo>
                    <a:pt x="268" y="1"/>
                  </a:moveTo>
                  <a:lnTo>
                    <a:pt x="268" y="1"/>
                  </a:lnTo>
                  <a:cubicBezTo>
                    <a:pt x="0" y="2641"/>
                    <a:pt x="1170" y="5732"/>
                    <a:pt x="2523" y="8004"/>
                  </a:cubicBezTo>
                  <a:cubicBezTo>
                    <a:pt x="3893" y="10293"/>
                    <a:pt x="5949" y="12081"/>
                    <a:pt x="8405" y="13117"/>
                  </a:cubicBezTo>
                  <a:cubicBezTo>
                    <a:pt x="8576" y="13187"/>
                    <a:pt x="8765" y="13252"/>
                    <a:pt x="8939" y="13252"/>
                  </a:cubicBezTo>
                  <a:cubicBezTo>
                    <a:pt x="9055" y="13252"/>
                    <a:pt x="9164" y="13224"/>
                    <a:pt x="9257" y="13150"/>
                  </a:cubicBezTo>
                  <a:cubicBezTo>
                    <a:pt x="9441" y="12983"/>
                    <a:pt x="9474" y="12716"/>
                    <a:pt x="9474" y="12465"/>
                  </a:cubicBezTo>
                  <a:cubicBezTo>
                    <a:pt x="9508" y="6734"/>
                    <a:pt x="5765" y="1655"/>
                    <a:pt x="268" y="1"/>
                  </a:cubicBezTo>
                  <a:close/>
                </a:path>
              </a:pathLst>
            </a:custGeom>
            <a:solidFill>
              <a:schemeClr val="dk2">
                <a:alpha val="1964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3" name="Google Shape;1133;p34"/>
            <p:cNvSpPr/>
            <p:nvPr/>
          </p:nvSpPr>
          <p:spPr>
            <a:xfrm>
              <a:off x="7647741" y="4095204"/>
              <a:ext cx="259733" cy="445046"/>
            </a:xfrm>
            <a:custGeom>
              <a:avLst/>
              <a:gdLst/>
              <a:ahLst/>
              <a:cxnLst/>
              <a:rect l="l" t="t" r="r" b="b"/>
              <a:pathLst>
                <a:path w="8104" h="13886" extrusionOk="0">
                  <a:moveTo>
                    <a:pt x="0" y="1"/>
                  </a:moveTo>
                  <a:lnTo>
                    <a:pt x="0" y="1"/>
                  </a:lnTo>
                  <a:cubicBezTo>
                    <a:pt x="17" y="51"/>
                    <a:pt x="50" y="101"/>
                    <a:pt x="84" y="151"/>
                  </a:cubicBezTo>
                  <a:lnTo>
                    <a:pt x="368" y="519"/>
                  </a:lnTo>
                  <a:cubicBezTo>
                    <a:pt x="618" y="836"/>
                    <a:pt x="969" y="1321"/>
                    <a:pt x="1404" y="1906"/>
                  </a:cubicBezTo>
                  <a:cubicBezTo>
                    <a:pt x="3659" y="4963"/>
                    <a:pt x="5581" y="8255"/>
                    <a:pt x="7151" y="11714"/>
                  </a:cubicBezTo>
                  <a:cubicBezTo>
                    <a:pt x="7452" y="12382"/>
                    <a:pt x="7686" y="12933"/>
                    <a:pt x="7836" y="13301"/>
                  </a:cubicBezTo>
                  <a:cubicBezTo>
                    <a:pt x="7920" y="13485"/>
                    <a:pt x="7987" y="13618"/>
                    <a:pt x="8020" y="13735"/>
                  </a:cubicBezTo>
                  <a:cubicBezTo>
                    <a:pt x="8054" y="13785"/>
                    <a:pt x="8070" y="13836"/>
                    <a:pt x="8104" y="13886"/>
                  </a:cubicBezTo>
                  <a:cubicBezTo>
                    <a:pt x="8087" y="13819"/>
                    <a:pt x="8070" y="13769"/>
                    <a:pt x="8054" y="13719"/>
                  </a:cubicBezTo>
                  <a:cubicBezTo>
                    <a:pt x="8020" y="13602"/>
                    <a:pt x="7953" y="13451"/>
                    <a:pt x="7887" y="13284"/>
                  </a:cubicBezTo>
                  <a:cubicBezTo>
                    <a:pt x="7753" y="12900"/>
                    <a:pt x="7536" y="12349"/>
                    <a:pt x="7235" y="11680"/>
                  </a:cubicBezTo>
                  <a:cubicBezTo>
                    <a:pt x="5731" y="8188"/>
                    <a:pt x="3793" y="4880"/>
                    <a:pt x="1487" y="1839"/>
                  </a:cubicBezTo>
                  <a:cubicBezTo>
                    <a:pt x="1053" y="1254"/>
                    <a:pt x="685" y="786"/>
                    <a:pt x="418" y="486"/>
                  </a:cubicBezTo>
                  <a:cubicBezTo>
                    <a:pt x="284" y="335"/>
                    <a:pt x="184" y="218"/>
                    <a:pt x="117" y="118"/>
                  </a:cubicBezTo>
                  <a:cubicBezTo>
                    <a:pt x="84" y="85"/>
                    <a:pt x="34" y="34"/>
                    <a:pt x="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4" name="Google Shape;1134;p34"/>
            <p:cNvSpPr/>
            <p:nvPr/>
          </p:nvSpPr>
          <p:spPr>
            <a:xfrm>
              <a:off x="7852829" y="3735892"/>
              <a:ext cx="56793" cy="797404"/>
            </a:xfrm>
            <a:custGeom>
              <a:avLst/>
              <a:gdLst/>
              <a:ahLst/>
              <a:cxnLst/>
              <a:rect l="l" t="t" r="r" b="b"/>
              <a:pathLst>
                <a:path w="1772" h="24880" extrusionOk="0">
                  <a:moveTo>
                    <a:pt x="17" y="1"/>
                  </a:moveTo>
                  <a:cubicBezTo>
                    <a:pt x="1" y="84"/>
                    <a:pt x="1" y="168"/>
                    <a:pt x="17" y="251"/>
                  </a:cubicBezTo>
                  <a:cubicBezTo>
                    <a:pt x="17" y="435"/>
                    <a:pt x="17" y="669"/>
                    <a:pt x="34" y="986"/>
                  </a:cubicBezTo>
                  <a:cubicBezTo>
                    <a:pt x="67" y="1621"/>
                    <a:pt x="101" y="2540"/>
                    <a:pt x="151" y="3643"/>
                  </a:cubicBezTo>
                  <a:cubicBezTo>
                    <a:pt x="268" y="5899"/>
                    <a:pt x="452" y="9023"/>
                    <a:pt x="702" y="12448"/>
                  </a:cubicBezTo>
                  <a:cubicBezTo>
                    <a:pt x="936" y="15890"/>
                    <a:pt x="1187" y="18998"/>
                    <a:pt x="1404" y="21237"/>
                  </a:cubicBezTo>
                  <a:cubicBezTo>
                    <a:pt x="1504" y="22357"/>
                    <a:pt x="1588" y="23259"/>
                    <a:pt x="1655" y="23910"/>
                  </a:cubicBezTo>
                  <a:cubicBezTo>
                    <a:pt x="1671" y="24211"/>
                    <a:pt x="1705" y="24445"/>
                    <a:pt x="1721" y="24629"/>
                  </a:cubicBezTo>
                  <a:cubicBezTo>
                    <a:pt x="1721" y="24712"/>
                    <a:pt x="1738" y="24796"/>
                    <a:pt x="1755" y="24880"/>
                  </a:cubicBezTo>
                  <a:cubicBezTo>
                    <a:pt x="1772" y="24796"/>
                    <a:pt x="1755" y="24712"/>
                    <a:pt x="1755" y="24629"/>
                  </a:cubicBezTo>
                  <a:cubicBezTo>
                    <a:pt x="1738" y="24445"/>
                    <a:pt x="1721" y="24211"/>
                    <a:pt x="1705" y="23894"/>
                  </a:cubicBezTo>
                  <a:cubicBezTo>
                    <a:pt x="1655" y="23259"/>
                    <a:pt x="1588" y="22357"/>
                    <a:pt x="1504" y="21237"/>
                  </a:cubicBezTo>
                  <a:cubicBezTo>
                    <a:pt x="1320" y="18981"/>
                    <a:pt x="1087" y="15874"/>
                    <a:pt x="853" y="12448"/>
                  </a:cubicBezTo>
                  <a:cubicBezTo>
                    <a:pt x="602" y="9006"/>
                    <a:pt x="402" y="5899"/>
                    <a:pt x="268" y="3643"/>
                  </a:cubicBezTo>
                  <a:cubicBezTo>
                    <a:pt x="184" y="2524"/>
                    <a:pt x="134" y="1621"/>
                    <a:pt x="84" y="986"/>
                  </a:cubicBezTo>
                  <a:cubicBezTo>
                    <a:pt x="67" y="669"/>
                    <a:pt x="51" y="435"/>
                    <a:pt x="34" y="251"/>
                  </a:cubicBezTo>
                  <a:cubicBezTo>
                    <a:pt x="34" y="168"/>
                    <a:pt x="34" y="84"/>
                    <a:pt x="1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" name="Google Shape;1135;p34"/>
            <p:cNvSpPr/>
            <p:nvPr/>
          </p:nvSpPr>
          <p:spPr>
            <a:xfrm>
              <a:off x="7775717" y="4419743"/>
              <a:ext cx="211017" cy="256560"/>
            </a:xfrm>
            <a:custGeom>
              <a:avLst/>
              <a:gdLst/>
              <a:ahLst/>
              <a:cxnLst/>
              <a:rect l="l" t="t" r="r" b="b"/>
              <a:pathLst>
                <a:path w="6584" h="8005" extrusionOk="0">
                  <a:moveTo>
                    <a:pt x="0" y="0"/>
                  </a:moveTo>
                  <a:lnTo>
                    <a:pt x="268" y="5013"/>
                  </a:lnTo>
                  <a:cubicBezTo>
                    <a:pt x="350" y="6696"/>
                    <a:pt x="1753" y="8004"/>
                    <a:pt x="3445" y="8004"/>
                  </a:cubicBezTo>
                  <a:cubicBezTo>
                    <a:pt x="3467" y="8004"/>
                    <a:pt x="3488" y="8004"/>
                    <a:pt x="3509" y="8004"/>
                  </a:cubicBezTo>
                  <a:cubicBezTo>
                    <a:pt x="5214" y="7954"/>
                    <a:pt x="6584" y="6550"/>
                    <a:pt x="6584" y="4846"/>
                  </a:cubicBezTo>
                  <a:lnTo>
                    <a:pt x="6584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" name="Google Shape;1136;p34"/>
            <p:cNvSpPr/>
            <p:nvPr/>
          </p:nvSpPr>
          <p:spPr>
            <a:xfrm>
              <a:off x="6691305" y="2375177"/>
              <a:ext cx="517864" cy="314378"/>
            </a:xfrm>
            <a:custGeom>
              <a:avLst/>
              <a:gdLst/>
              <a:ahLst/>
              <a:cxnLst/>
              <a:rect l="l" t="t" r="r" b="b"/>
              <a:pathLst>
                <a:path w="16158" h="9809" extrusionOk="0">
                  <a:moveTo>
                    <a:pt x="435" y="0"/>
                  </a:moveTo>
                  <a:lnTo>
                    <a:pt x="1" y="936"/>
                  </a:lnTo>
                  <a:lnTo>
                    <a:pt x="15573" y="9808"/>
                  </a:lnTo>
                  <a:lnTo>
                    <a:pt x="16158" y="8689"/>
                  </a:lnTo>
                  <a:lnTo>
                    <a:pt x="43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" name="Google Shape;1137;p34"/>
            <p:cNvSpPr/>
            <p:nvPr/>
          </p:nvSpPr>
          <p:spPr>
            <a:xfrm>
              <a:off x="6680600" y="2313064"/>
              <a:ext cx="36986" cy="43941"/>
            </a:xfrm>
            <a:custGeom>
              <a:avLst/>
              <a:gdLst/>
              <a:ahLst/>
              <a:cxnLst/>
              <a:rect l="l" t="t" r="r" b="b"/>
              <a:pathLst>
                <a:path w="1154" h="1371" extrusionOk="0">
                  <a:moveTo>
                    <a:pt x="719" y="0"/>
                  </a:moveTo>
                  <a:lnTo>
                    <a:pt x="0" y="1103"/>
                  </a:lnTo>
                  <a:lnTo>
                    <a:pt x="502" y="1370"/>
                  </a:lnTo>
                  <a:lnTo>
                    <a:pt x="1153" y="267"/>
                  </a:lnTo>
                  <a:lnTo>
                    <a:pt x="71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" name="Google Shape;1138;p34"/>
            <p:cNvSpPr/>
            <p:nvPr/>
          </p:nvSpPr>
          <p:spPr>
            <a:xfrm>
              <a:off x="7053855" y="2609719"/>
              <a:ext cx="124258" cy="553760"/>
            </a:xfrm>
            <a:custGeom>
              <a:avLst/>
              <a:gdLst/>
              <a:ahLst/>
              <a:cxnLst/>
              <a:rect l="l" t="t" r="r" b="b"/>
              <a:pathLst>
                <a:path w="3877" h="17278" extrusionOk="0">
                  <a:moveTo>
                    <a:pt x="3058" y="1"/>
                  </a:moveTo>
                  <a:lnTo>
                    <a:pt x="0" y="17277"/>
                  </a:lnTo>
                  <a:lnTo>
                    <a:pt x="0" y="17277"/>
                  </a:lnTo>
                  <a:lnTo>
                    <a:pt x="1237" y="17260"/>
                  </a:lnTo>
                  <a:lnTo>
                    <a:pt x="3877" y="468"/>
                  </a:lnTo>
                  <a:lnTo>
                    <a:pt x="3058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9" name="Google Shape;1139;p34"/>
            <p:cNvSpPr/>
            <p:nvPr/>
          </p:nvSpPr>
          <p:spPr>
            <a:xfrm>
              <a:off x="6937641" y="3161075"/>
              <a:ext cx="268323" cy="58075"/>
            </a:xfrm>
            <a:custGeom>
              <a:avLst/>
              <a:gdLst/>
              <a:ahLst/>
              <a:cxnLst/>
              <a:rect l="l" t="t" r="r" b="b"/>
              <a:pathLst>
                <a:path w="8372" h="1812" extrusionOk="0">
                  <a:moveTo>
                    <a:pt x="4225" y="1"/>
                  </a:moveTo>
                  <a:cubicBezTo>
                    <a:pt x="1796" y="1"/>
                    <a:pt x="1" y="1812"/>
                    <a:pt x="1" y="1812"/>
                  </a:cubicBezTo>
                  <a:lnTo>
                    <a:pt x="8372" y="1795"/>
                  </a:lnTo>
                  <a:cubicBezTo>
                    <a:pt x="7369" y="709"/>
                    <a:pt x="5966" y="74"/>
                    <a:pt x="4478" y="7"/>
                  </a:cubicBezTo>
                  <a:cubicBezTo>
                    <a:pt x="4393" y="3"/>
                    <a:pt x="4309" y="1"/>
                    <a:pt x="42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0" name="Google Shape;1140;p34"/>
            <p:cNvSpPr/>
            <p:nvPr/>
          </p:nvSpPr>
          <p:spPr>
            <a:xfrm>
              <a:off x="6481922" y="2321109"/>
              <a:ext cx="288130" cy="271496"/>
            </a:xfrm>
            <a:custGeom>
              <a:avLst/>
              <a:gdLst/>
              <a:ahLst/>
              <a:cxnLst/>
              <a:rect l="l" t="t" r="r" b="b"/>
              <a:pathLst>
                <a:path w="8990" h="8471" extrusionOk="0">
                  <a:moveTo>
                    <a:pt x="4887" y="1"/>
                  </a:moveTo>
                  <a:cubicBezTo>
                    <a:pt x="3657" y="1"/>
                    <a:pt x="2458" y="632"/>
                    <a:pt x="1788" y="1771"/>
                  </a:cubicBezTo>
                  <a:lnTo>
                    <a:pt x="1" y="4879"/>
                  </a:lnTo>
                  <a:lnTo>
                    <a:pt x="6216" y="8471"/>
                  </a:lnTo>
                  <a:lnTo>
                    <a:pt x="8021" y="5363"/>
                  </a:lnTo>
                  <a:cubicBezTo>
                    <a:pt x="8990" y="3642"/>
                    <a:pt x="8388" y="1470"/>
                    <a:pt x="6684" y="484"/>
                  </a:cubicBezTo>
                  <a:cubicBezTo>
                    <a:pt x="6118" y="157"/>
                    <a:pt x="5499" y="1"/>
                    <a:pt x="488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71F78A4-2CE7-4DD3-AA34-D6C6A397F5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894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5" imgW="393" imgH="403" progId="TCLayout.ActiveDocument.1">
                  <p:embed/>
                </p:oleObj>
              </mc:Choice>
              <mc:Fallback>
                <p:oleObj name="think-cell Slide" r:id="rId5" imgW="393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57" name="Google Shape;1657;p40"/>
          <p:cNvSpPr txBox="1">
            <a:spLocks noGrp="1"/>
          </p:cNvSpPr>
          <p:nvPr>
            <p:ph type="title"/>
          </p:nvPr>
        </p:nvSpPr>
        <p:spPr>
          <a:xfrm>
            <a:off x="720000" y="540000"/>
            <a:ext cx="7704000" cy="32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CO" dirty="0"/>
              <a:t>Brand </a:t>
            </a:r>
            <a:r>
              <a:rPr lang="es-CO" dirty="0" err="1"/>
              <a:t>Expansion</a:t>
            </a:r>
            <a:endParaRPr dirty="0"/>
          </a:p>
        </p:txBody>
      </p:sp>
      <p:grpSp>
        <p:nvGrpSpPr>
          <p:cNvPr id="1658" name="Google Shape;1658;p40"/>
          <p:cNvGrpSpPr/>
          <p:nvPr/>
        </p:nvGrpSpPr>
        <p:grpSpPr>
          <a:xfrm>
            <a:off x="7166359" y="1663770"/>
            <a:ext cx="1404877" cy="3025504"/>
            <a:chOff x="7068759" y="1663770"/>
            <a:chExt cx="1404877" cy="3025504"/>
          </a:xfrm>
        </p:grpSpPr>
        <p:sp>
          <p:nvSpPr>
            <p:cNvPr id="1659" name="Google Shape;1659;p40"/>
            <p:cNvSpPr/>
            <p:nvPr/>
          </p:nvSpPr>
          <p:spPr>
            <a:xfrm>
              <a:off x="7948531" y="1770202"/>
              <a:ext cx="270618" cy="481846"/>
            </a:xfrm>
            <a:custGeom>
              <a:avLst/>
              <a:gdLst/>
              <a:ahLst/>
              <a:cxnLst/>
              <a:rect l="l" t="t" r="r" b="b"/>
              <a:pathLst>
                <a:path w="8439" h="15026" extrusionOk="0">
                  <a:moveTo>
                    <a:pt x="3403" y="0"/>
                  </a:moveTo>
                  <a:cubicBezTo>
                    <a:pt x="2378" y="0"/>
                    <a:pt x="1345" y="204"/>
                    <a:pt x="368" y="623"/>
                  </a:cubicBezTo>
                  <a:cubicBezTo>
                    <a:pt x="368" y="623"/>
                    <a:pt x="1" y="5702"/>
                    <a:pt x="17" y="7925"/>
                  </a:cubicBezTo>
                  <a:cubicBezTo>
                    <a:pt x="51" y="10130"/>
                    <a:pt x="2256" y="10481"/>
                    <a:pt x="2256" y="10481"/>
                  </a:cubicBezTo>
                  <a:cubicBezTo>
                    <a:pt x="2256" y="10481"/>
                    <a:pt x="2223" y="14107"/>
                    <a:pt x="2256" y="14725"/>
                  </a:cubicBezTo>
                  <a:lnTo>
                    <a:pt x="7570" y="15026"/>
                  </a:lnTo>
                  <a:lnTo>
                    <a:pt x="8438" y="1843"/>
                  </a:lnTo>
                  <a:lnTo>
                    <a:pt x="8104" y="1592"/>
                  </a:lnTo>
                  <a:cubicBezTo>
                    <a:pt x="6736" y="545"/>
                    <a:pt x="5079" y="0"/>
                    <a:pt x="3403" y="0"/>
                  </a:cubicBezTo>
                  <a:close/>
                </a:path>
              </a:pathLst>
            </a:custGeom>
            <a:solidFill>
              <a:srgbClr val="AA75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0" name="Google Shape;1660;p40"/>
            <p:cNvSpPr/>
            <p:nvPr/>
          </p:nvSpPr>
          <p:spPr>
            <a:xfrm>
              <a:off x="7956195" y="1898921"/>
              <a:ext cx="27738" cy="20491"/>
            </a:xfrm>
            <a:custGeom>
              <a:avLst/>
              <a:gdLst/>
              <a:ahLst/>
              <a:cxnLst/>
              <a:rect l="l" t="t" r="r" b="b"/>
              <a:pathLst>
                <a:path w="865" h="639" extrusionOk="0">
                  <a:moveTo>
                    <a:pt x="426" y="0"/>
                  </a:moveTo>
                  <a:cubicBezTo>
                    <a:pt x="155" y="0"/>
                    <a:pt x="0" y="324"/>
                    <a:pt x="196" y="536"/>
                  </a:cubicBezTo>
                  <a:cubicBezTo>
                    <a:pt x="256" y="605"/>
                    <a:pt x="339" y="638"/>
                    <a:pt x="423" y="638"/>
                  </a:cubicBezTo>
                  <a:cubicBezTo>
                    <a:pt x="502" y="638"/>
                    <a:pt x="582" y="609"/>
                    <a:pt x="647" y="552"/>
                  </a:cubicBezTo>
                  <a:cubicBezTo>
                    <a:pt x="864" y="368"/>
                    <a:pt x="731" y="1"/>
                    <a:pt x="447" y="1"/>
                  </a:cubicBezTo>
                  <a:cubicBezTo>
                    <a:pt x="440" y="1"/>
                    <a:pt x="433" y="0"/>
                    <a:pt x="42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1" name="Google Shape;1661;p40"/>
            <p:cNvSpPr/>
            <p:nvPr/>
          </p:nvSpPr>
          <p:spPr>
            <a:xfrm>
              <a:off x="7959241" y="1890294"/>
              <a:ext cx="37006" cy="10422"/>
            </a:xfrm>
            <a:custGeom>
              <a:avLst/>
              <a:gdLst/>
              <a:ahLst/>
              <a:cxnLst/>
              <a:rect l="l" t="t" r="r" b="b"/>
              <a:pathLst>
                <a:path w="1154" h="325" extrusionOk="0">
                  <a:moveTo>
                    <a:pt x="581" y="0"/>
                  </a:moveTo>
                  <a:cubicBezTo>
                    <a:pt x="421" y="0"/>
                    <a:pt x="262" y="51"/>
                    <a:pt x="134" y="153"/>
                  </a:cubicBezTo>
                  <a:cubicBezTo>
                    <a:pt x="34" y="236"/>
                    <a:pt x="1" y="303"/>
                    <a:pt x="17" y="320"/>
                  </a:cubicBezTo>
                  <a:cubicBezTo>
                    <a:pt x="20" y="323"/>
                    <a:pt x="25" y="324"/>
                    <a:pt x="31" y="324"/>
                  </a:cubicBezTo>
                  <a:cubicBezTo>
                    <a:pt x="91" y="324"/>
                    <a:pt x="295" y="186"/>
                    <a:pt x="569" y="186"/>
                  </a:cubicBezTo>
                  <a:cubicBezTo>
                    <a:pt x="839" y="186"/>
                    <a:pt x="1056" y="308"/>
                    <a:pt x="1121" y="308"/>
                  </a:cubicBezTo>
                  <a:cubicBezTo>
                    <a:pt x="1128" y="308"/>
                    <a:pt x="1134" y="307"/>
                    <a:pt x="1137" y="303"/>
                  </a:cubicBezTo>
                  <a:cubicBezTo>
                    <a:pt x="1154" y="287"/>
                    <a:pt x="1120" y="220"/>
                    <a:pt x="1020" y="136"/>
                  </a:cubicBezTo>
                  <a:cubicBezTo>
                    <a:pt x="889" y="46"/>
                    <a:pt x="734" y="0"/>
                    <a:pt x="58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2" name="Google Shape;1662;p40"/>
            <p:cNvSpPr/>
            <p:nvPr/>
          </p:nvSpPr>
          <p:spPr>
            <a:xfrm>
              <a:off x="8064262" y="1903153"/>
              <a:ext cx="26905" cy="20748"/>
            </a:xfrm>
            <a:custGeom>
              <a:avLst/>
              <a:gdLst/>
              <a:ahLst/>
              <a:cxnLst/>
              <a:rect l="l" t="t" r="r" b="b"/>
              <a:pathLst>
                <a:path w="839" h="647" extrusionOk="0">
                  <a:moveTo>
                    <a:pt x="423" y="1"/>
                  </a:moveTo>
                  <a:cubicBezTo>
                    <a:pt x="364" y="1"/>
                    <a:pt x="305" y="17"/>
                    <a:pt x="251" y="53"/>
                  </a:cubicBezTo>
                  <a:cubicBezTo>
                    <a:pt x="1" y="203"/>
                    <a:pt x="67" y="571"/>
                    <a:pt x="351" y="638"/>
                  </a:cubicBezTo>
                  <a:cubicBezTo>
                    <a:pt x="376" y="644"/>
                    <a:pt x="400" y="647"/>
                    <a:pt x="424" y="647"/>
                  </a:cubicBezTo>
                  <a:cubicBezTo>
                    <a:pt x="659" y="647"/>
                    <a:pt x="839" y="365"/>
                    <a:pt x="702" y="153"/>
                  </a:cubicBezTo>
                  <a:cubicBezTo>
                    <a:pt x="638" y="56"/>
                    <a:pt x="531" y="1"/>
                    <a:pt x="42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3" name="Google Shape;1663;p40"/>
            <p:cNvSpPr/>
            <p:nvPr/>
          </p:nvSpPr>
          <p:spPr>
            <a:xfrm>
              <a:off x="8065353" y="1894591"/>
              <a:ext cx="36974" cy="10422"/>
            </a:xfrm>
            <a:custGeom>
              <a:avLst/>
              <a:gdLst/>
              <a:ahLst/>
              <a:cxnLst/>
              <a:rect l="l" t="t" r="r" b="b"/>
              <a:pathLst>
                <a:path w="1153" h="325" extrusionOk="0">
                  <a:moveTo>
                    <a:pt x="580" y="0"/>
                  </a:moveTo>
                  <a:cubicBezTo>
                    <a:pt x="420" y="0"/>
                    <a:pt x="262" y="50"/>
                    <a:pt x="134" y="153"/>
                  </a:cubicBezTo>
                  <a:cubicBezTo>
                    <a:pt x="33" y="236"/>
                    <a:pt x="0" y="303"/>
                    <a:pt x="17" y="320"/>
                  </a:cubicBezTo>
                  <a:cubicBezTo>
                    <a:pt x="20" y="323"/>
                    <a:pt x="24" y="324"/>
                    <a:pt x="30" y="324"/>
                  </a:cubicBezTo>
                  <a:cubicBezTo>
                    <a:pt x="90" y="324"/>
                    <a:pt x="295" y="186"/>
                    <a:pt x="568" y="186"/>
                  </a:cubicBezTo>
                  <a:cubicBezTo>
                    <a:pt x="854" y="186"/>
                    <a:pt x="1058" y="308"/>
                    <a:pt x="1121" y="308"/>
                  </a:cubicBezTo>
                  <a:cubicBezTo>
                    <a:pt x="1128" y="308"/>
                    <a:pt x="1133" y="306"/>
                    <a:pt x="1136" y="303"/>
                  </a:cubicBezTo>
                  <a:cubicBezTo>
                    <a:pt x="1153" y="286"/>
                    <a:pt x="1119" y="219"/>
                    <a:pt x="1019" y="136"/>
                  </a:cubicBezTo>
                  <a:cubicBezTo>
                    <a:pt x="888" y="46"/>
                    <a:pt x="734" y="0"/>
                    <a:pt x="58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4" name="Google Shape;1664;p40"/>
            <p:cNvSpPr/>
            <p:nvPr/>
          </p:nvSpPr>
          <p:spPr>
            <a:xfrm>
              <a:off x="8001025" y="1900524"/>
              <a:ext cx="32741" cy="85813"/>
            </a:xfrm>
            <a:custGeom>
              <a:avLst/>
              <a:gdLst/>
              <a:ahLst/>
              <a:cxnLst/>
              <a:rect l="l" t="t" r="r" b="b"/>
              <a:pathLst>
                <a:path w="1021" h="2676" extrusionOk="0">
                  <a:moveTo>
                    <a:pt x="985" y="1"/>
                  </a:moveTo>
                  <a:cubicBezTo>
                    <a:pt x="930" y="1"/>
                    <a:pt x="632" y="696"/>
                    <a:pt x="302" y="1555"/>
                  </a:cubicBezTo>
                  <a:cubicBezTo>
                    <a:pt x="218" y="1772"/>
                    <a:pt x="135" y="1989"/>
                    <a:pt x="68" y="2190"/>
                  </a:cubicBezTo>
                  <a:cubicBezTo>
                    <a:pt x="18" y="2290"/>
                    <a:pt x="1" y="2407"/>
                    <a:pt x="18" y="2524"/>
                  </a:cubicBezTo>
                  <a:cubicBezTo>
                    <a:pt x="51" y="2574"/>
                    <a:pt x="101" y="2624"/>
                    <a:pt x="168" y="2641"/>
                  </a:cubicBezTo>
                  <a:cubicBezTo>
                    <a:pt x="201" y="2658"/>
                    <a:pt x="252" y="2658"/>
                    <a:pt x="302" y="2658"/>
                  </a:cubicBezTo>
                  <a:cubicBezTo>
                    <a:pt x="366" y="2670"/>
                    <a:pt x="429" y="2676"/>
                    <a:pt x="493" y="2676"/>
                  </a:cubicBezTo>
                  <a:cubicBezTo>
                    <a:pt x="596" y="2676"/>
                    <a:pt x="700" y="2662"/>
                    <a:pt x="803" y="2641"/>
                  </a:cubicBezTo>
                  <a:cubicBezTo>
                    <a:pt x="636" y="2574"/>
                    <a:pt x="469" y="2541"/>
                    <a:pt x="302" y="2541"/>
                  </a:cubicBezTo>
                  <a:cubicBezTo>
                    <a:pt x="235" y="2524"/>
                    <a:pt x="168" y="2507"/>
                    <a:pt x="151" y="2474"/>
                  </a:cubicBezTo>
                  <a:cubicBezTo>
                    <a:pt x="151" y="2390"/>
                    <a:pt x="185" y="2307"/>
                    <a:pt x="218" y="2240"/>
                  </a:cubicBezTo>
                  <a:cubicBezTo>
                    <a:pt x="302" y="2039"/>
                    <a:pt x="369" y="1839"/>
                    <a:pt x="452" y="1622"/>
                  </a:cubicBezTo>
                  <a:cubicBezTo>
                    <a:pt x="786" y="736"/>
                    <a:pt x="1020" y="18"/>
                    <a:pt x="987" y="1"/>
                  </a:cubicBezTo>
                  <a:cubicBezTo>
                    <a:pt x="986" y="1"/>
                    <a:pt x="986" y="1"/>
                    <a:pt x="98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5" name="Google Shape;1665;p40"/>
            <p:cNvSpPr/>
            <p:nvPr/>
          </p:nvSpPr>
          <p:spPr>
            <a:xfrm>
              <a:off x="8020875" y="2078947"/>
              <a:ext cx="92707" cy="45087"/>
            </a:xfrm>
            <a:custGeom>
              <a:avLst/>
              <a:gdLst/>
              <a:ahLst/>
              <a:cxnLst/>
              <a:rect l="l" t="t" r="r" b="b"/>
              <a:pathLst>
                <a:path w="2891" h="1406" extrusionOk="0">
                  <a:moveTo>
                    <a:pt x="2891" y="1"/>
                  </a:moveTo>
                  <a:lnTo>
                    <a:pt x="2891" y="1"/>
                  </a:lnTo>
                  <a:cubicBezTo>
                    <a:pt x="2046" y="537"/>
                    <a:pt x="1075" y="820"/>
                    <a:pt x="85" y="820"/>
                  </a:cubicBezTo>
                  <a:cubicBezTo>
                    <a:pt x="57" y="820"/>
                    <a:pt x="29" y="820"/>
                    <a:pt x="0" y="820"/>
                  </a:cubicBezTo>
                  <a:lnTo>
                    <a:pt x="0" y="1388"/>
                  </a:lnTo>
                  <a:cubicBezTo>
                    <a:pt x="131" y="1400"/>
                    <a:pt x="257" y="1405"/>
                    <a:pt x="377" y="1405"/>
                  </a:cubicBezTo>
                  <a:cubicBezTo>
                    <a:pt x="2285" y="1405"/>
                    <a:pt x="2891" y="1"/>
                    <a:pt x="2891" y="1"/>
                  </a:cubicBezTo>
                  <a:close/>
                </a:path>
              </a:pathLst>
            </a:custGeom>
            <a:solidFill>
              <a:schemeClr val="dk2">
                <a:alpha val="3202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6" name="Google Shape;1666;p40"/>
            <p:cNvSpPr/>
            <p:nvPr/>
          </p:nvSpPr>
          <p:spPr>
            <a:xfrm>
              <a:off x="7943945" y="1663770"/>
              <a:ext cx="311632" cy="297362"/>
            </a:xfrm>
            <a:custGeom>
              <a:avLst/>
              <a:gdLst/>
              <a:ahLst/>
              <a:cxnLst/>
              <a:rect l="l" t="t" r="r" b="b"/>
              <a:pathLst>
                <a:path w="9718" h="9273" extrusionOk="0">
                  <a:moveTo>
                    <a:pt x="1491" y="0"/>
                  </a:moveTo>
                  <a:cubicBezTo>
                    <a:pt x="1336" y="0"/>
                    <a:pt x="1187" y="39"/>
                    <a:pt x="1063" y="133"/>
                  </a:cubicBezTo>
                  <a:cubicBezTo>
                    <a:pt x="795" y="366"/>
                    <a:pt x="712" y="751"/>
                    <a:pt x="845" y="1068"/>
                  </a:cubicBezTo>
                  <a:cubicBezTo>
                    <a:pt x="979" y="1386"/>
                    <a:pt x="1179" y="1670"/>
                    <a:pt x="1430" y="1904"/>
                  </a:cubicBezTo>
                  <a:cubicBezTo>
                    <a:pt x="1282" y="1799"/>
                    <a:pt x="1115" y="1751"/>
                    <a:pt x="952" y="1751"/>
                  </a:cubicBezTo>
                  <a:cubicBezTo>
                    <a:pt x="619" y="1751"/>
                    <a:pt x="300" y="1952"/>
                    <a:pt x="177" y="2288"/>
                  </a:cubicBezTo>
                  <a:cubicBezTo>
                    <a:pt x="0" y="2787"/>
                    <a:pt x="319" y="3316"/>
                    <a:pt x="820" y="3400"/>
                  </a:cubicBezTo>
                  <a:lnTo>
                    <a:pt x="820" y="3400"/>
                  </a:lnTo>
                  <a:cubicBezTo>
                    <a:pt x="800" y="3398"/>
                    <a:pt x="780" y="3397"/>
                    <a:pt x="761" y="3397"/>
                  </a:cubicBezTo>
                  <a:cubicBezTo>
                    <a:pt x="422" y="3397"/>
                    <a:pt x="118" y="3649"/>
                    <a:pt x="43" y="4009"/>
                  </a:cubicBezTo>
                  <a:cubicBezTo>
                    <a:pt x="10" y="4393"/>
                    <a:pt x="177" y="4778"/>
                    <a:pt x="494" y="4995"/>
                  </a:cubicBezTo>
                  <a:cubicBezTo>
                    <a:pt x="812" y="5195"/>
                    <a:pt x="1179" y="5329"/>
                    <a:pt x="1547" y="5379"/>
                  </a:cubicBezTo>
                  <a:cubicBezTo>
                    <a:pt x="1919" y="5457"/>
                    <a:pt x="2276" y="5490"/>
                    <a:pt x="2618" y="5490"/>
                  </a:cubicBezTo>
                  <a:cubicBezTo>
                    <a:pt x="4390" y="5490"/>
                    <a:pt x="5751" y="4602"/>
                    <a:pt x="6760" y="4560"/>
                  </a:cubicBezTo>
                  <a:cubicBezTo>
                    <a:pt x="6782" y="4559"/>
                    <a:pt x="6802" y="4559"/>
                    <a:pt x="6823" y="4559"/>
                  </a:cubicBezTo>
                  <a:cubicBezTo>
                    <a:pt x="7957" y="4559"/>
                    <a:pt x="7779" y="5897"/>
                    <a:pt x="7779" y="5897"/>
                  </a:cubicBezTo>
                  <a:lnTo>
                    <a:pt x="7512" y="9189"/>
                  </a:lnTo>
                  <a:lnTo>
                    <a:pt x="8498" y="9272"/>
                  </a:lnTo>
                  <a:lnTo>
                    <a:pt x="8865" y="7701"/>
                  </a:lnTo>
                  <a:cubicBezTo>
                    <a:pt x="8966" y="7568"/>
                    <a:pt x="9049" y="7417"/>
                    <a:pt x="9116" y="7250"/>
                  </a:cubicBezTo>
                  <a:cubicBezTo>
                    <a:pt x="9317" y="6682"/>
                    <a:pt x="9617" y="6114"/>
                    <a:pt x="9651" y="5513"/>
                  </a:cubicBezTo>
                  <a:cubicBezTo>
                    <a:pt x="9718" y="4894"/>
                    <a:pt x="9500" y="4276"/>
                    <a:pt x="9049" y="3842"/>
                  </a:cubicBezTo>
                  <a:cubicBezTo>
                    <a:pt x="8616" y="3449"/>
                    <a:pt x="8008" y="3342"/>
                    <a:pt x="7410" y="3342"/>
                  </a:cubicBezTo>
                  <a:cubicBezTo>
                    <a:pt x="7270" y="3342"/>
                    <a:pt x="7131" y="3348"/>
                    <a:pt x="6994" y="3357"/>
                  </a:cubicBezTo>
                  <a:cubicBezTo>
                    <a:pt x="7044" y="2772"/>
                    <a:pt x="6810" y="2204"/>
                    <a:pt x="6376" y="1837"/>
                  </a:cubicBezTo>
                  <a:cubicBezTo>
                    <a:pt x="5941" y="1453"/>
                    <a:pt x="5390" y="1235"/>
                    <a:pt x="4822" y="1185"/>
                  </a:cubicBezTo>
                  <a:cubicBezTo>
                    <a:pt x="4304" y="1135"/>
                    <a:pt x="3769" y="1185"/>
                    <a:pt x="3285" y="985"/>
                  </a:cubicBezTo>
                  <a:cubicBezTo>
                    <a:pt x="2817" y="784"/>
                    <a:pt x="2483" y="366"/>
                    <a:pt x="2015" y="133"/>
                  </a:cubicBezTo>
                  <a:cubicBezTo>
                    <a:pt x="1854" y="52"/>
                    <a:pt x="1669" y="0"/>
                    <a:pt x="149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7" name="Google Shape;1667;p40"/>
            <p:cNvSpPr/>
            <p:nvPr/>
          </p:nvSpPr>
          <p:spPr>
            <a:xfrm>
              <a:off x="8197407" y="1898151"/>
              <a:ext cx="73499" cy="94054"/>
            </a:xfrm>
            <a:custGeom>
              <a:avLst/>
              <a:gdLst/>
              <a:ahLst/>
              <a:cxnLst/>
              <a:rect l="l" t="t" r="r" b="b"/>
              <a:pathLst>
                <a:path w="2292" h="2933" extrusionOk="0">
                  <a:moveTo>
                    <a:pt x="793" y="1"/>
                  </a:moveTo>
                  <a:cubicBezTo>
                    <a:pt x="727" y="1"/>
                    <a:pt x="685" y="6"/>
                    <a:pt x="677" y="8"/>
                  </a:cubicBezTo>
                  <a:cubicBezTo>
                    <a:pt x="677" y="8"/>
                    <a:pt x="9" y="2615"/>
                    <a:pt x="9" y="2665"/>
                  </a:cubicBezTo>
                  <a:cubicBezTo>
                    <a:pt x="1" y="2698"/>
                    <a:pt x="440" y="2932"/>
                    <a:pt x="918" y="2932"/>
                  </a:cubicBezTo>
                  <a:cubicBezTo>
                    <a:pt x="1404" y="2932"/>
                    <a:pt x="1929" y="2690"/>
                    <a:pt x="2064" y="1746"/>
                  </a:cubicBezTo>
                  <a:cubicBezTo>
                    <a:pt x="2292" y="154"/>
                    <a:pt x="1165" y="1"/>
                    <a:pt x="793" y="1"/>
                  </a:cubicBezTo>
                  <a:close/>
                </a:path>
              </a:pathLst>
            </a:custGeom>
            <a:solidFill>
              <a:srgbClr val="AA75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8" name="Google Shape;1668;p40"/>
            <p:cNvSpPr/>
            <p:nvPr/>
          </p:nvSpPr>
          <p:spPr>
            <a:xfrm>
              <a:off x="8218571" y="1919604"/>
              <a:ext cx="31105" cy="52366"/>
            </a:xfrm>
            <a:custGeom>
              <a:avLst/>
              <a:gdLst/>
              <a:ahLst/>
              <a:cxnLst/>
              <a:rect l="l" t="t" r="r" b="b"/>
              <a:pathLst>
                <a:path w="970" h="1633" extrusionOk="0">
                  <a:moveTo>
                    <a:pt x="544" y="1"/>
                  </a:moveTo>
                  <a:cubicBezTo>
                    <a:pt x="498" y="1"/>
                    <a:pt x="454" y="12"/>
                    <a:pt x="418" y="24"/>
                  </a:cubicBezTo>
                  <a:cubicBezTo>
                    <a:pt x="368" y="58"/>
                    <a:pt x="335" y="91"/>
                    <a:pt x="318" y="141"/>
                  </a:cubicBezTo>
                  <a:cubicBezTo>
                    <a:pt x="301" y="208"/>
                    <a:pt x="318" y="258"/>
                    <a:pt x="335" y="258"/>
                  </a:cubicBezTo>
                  <a:cubicBezTo>
                    <a:pt x="335" y="241"/>
                    <a:pt x="335" y="208"/>
                    <a:pt x="368" y="158"/>
                  </a:cubicBezTo>
                  <a:cubicBezTo>
                    <a:pt x="407" y="107"/>
                    <a:pt x="464" y="85"/>
                    <a:pt x="519" y="85"/>
                  </a:cubicBezTo>
                  <a:cubicBezTo>
                    <a:pt x="536" y="85"/>
                    <a:pt x="553" y="87"/>
                    <a:pt x="569" y="91"/>
                  </a:cubicBezTo>
                  <a:cubicBezTo>
                    <a:pt x="686" y="158"/>
                    <a:pt x="769" y="258"/>
                    <a:pt x="786" y="375"/>
                  </a:cubicBezTo>
                  <a:cubicBezTo>
                    <a:pt x="819" y="542"/>
                    <a:pt x="836" y="709"/>
                    <a:pt x="803" y="860"/>
                  </a:cubicBezTo>
                  <a:cubicBezTo>
                    <a:pt x="753" y="1194"/>
                    <a:pt x="535" y="1478"/>
                    <a:pt x="335" y="1528"/>
                  </a:cubicBezTo>
                  <a:cubicBezTo>
                    <a:pt x="312" y="1532"/>
                    <a:pt x="290" y="1535"/>
                    <a:pt x="268" y="1535"/>
                  </a:cubicBezTo>
                  <a:cubicBezTo>
                    <a:pt x="207" y="1535"/>
                    <a:pt x="145" y="1519"/>
                    <a:pt x="84" y="1495"/>
                  </a:cubicBezTo>
                  <a:cubicBezTo>
                    <a:pt x="34" y="1461"/>
                    <a:pt x="17" y="1428"/>
                    <a:pt x="1" y="1428"/>
                  </a:cubicBezTo>
                  <a:lnTo>
                    <a:pt x="1" y="1428"/>
                  </a:lnTo>
                  <a:cubicBezTo>
                    <a:pt x="1" y="1428"/>
                    <a:pt x="1" y="1478"/>
                    <a:pt x="51" y="1528"/>
                  </a:cubicBezTo>
                  <a:cubicBezTo>
                    <a:pt x="120" y="1598"/>
                    <a:pt x="202" y="1632"/>
                    <a:pt x="294" y="1632"/>
                  </a:cubicBezTo>
                  <a:cubicBezTo>
                    <a:pt x="313" y="1632"/>
                    <a:pt x="332" y="1631"/>
                    <a:pt x="352" y="1628"/>
                  </a:cubicBezTo>
                  <a:cubicBezTo>
                    <a:pt x="636" y="1578"/>
                    <a:pt x="870" y="1261"/>
                    <a:pt x="936" y="876"/>
                  </a:cubicBezTo>
                  <a:cubicBezTo>
                    <a:pt x="970" y="709"/>
                    <a:pt x="953" y="526"/>
                    <a:pt x="903" y="342"/>
                  </a:cubicBezTo>
                  <a:cubicBezTo>
                    <a:pt x="870" y="191"/>
                    <a:pt x="753" y="58"/>
                    <a:pt x="602" y="8"/>
                  </a:cubicBezTo>
                  <a:cubicBezTo>
                    <a:pt x="583" y="3"/>
                    <a:pt x="563" y="1"/>
                    <a:pt x="544" y="1"/>
                  </a:cubicBezTo>
                  <a:close/>
                </a:path>
              </a:pathLst>
            </a:custGeom>
            <a:solidFill>
              <a:srgbClr val="7F524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9" name="Google Shape;1669;p40"/>
            <p:cNvSpPr/>
            <p:nvPr/>
          </p:nvSpPr>
          <p:spPr>
            <a:xfrm>
              <a:off x="8065353" y="1847484"/>
              <a:ext cx="52527" cy="15392"/>
            </a:xfrm>
            <a:custGeom>
              <a:avLst/>
              <a:gdLst/>
              <a:ahLst/>
              <a:cxnLst/>
              <a:rect l="l" t="t" r="r" b="b"/>
              <a:pathLst>
                <a:path w="1638" h="480" extrusionOk="0">
                  <a:moveTo>
                    <a:pt x="804" y="1"/>
                  </a:moveTo>
                  <a:cubicBezTo>
                    <a:pt x="594" y="1"/>
                    <a:pt x="386" y="55"/>
                    <a:pt x="201" y="168"/>
                  </a:cubicBezTo>
                  <a:cubicBezTo>
                    <a:pt x="50" y="268"/>
                    <a:pt x="0" y="368"/>
                    <a:pt x="17" y="419"/>
                  </a:cubicBezTo>
                  <a:cubicBezTo>
                    <a:pt x="42" y="456"/>
                    <a:pt x="104" y="468"/>
                    <a:pt x="194" y="468"/>
                  </a:cubicBezTo>
                  <a:cubicBezTo>
                    <a:pt x="344" y="468"/>
                    <a:pt x="568" y="435"/>
                    <a:pt x="819" y="435"/>
                  </a:cubicBezTo>
                  <a:cubicBezTo>
                    <a:pt x="1086" y="435"/>
                    <a:pt x="1316" y="480"/>
                    <a:pt x="1465" y="480"/>
                  </a:cubicBezTo>
                  <a:cubicBezTo>
                    <a:pt x="1539" y="480"/>
                    <a:pt x="1593" y="469"/>
                    <a:pt x="1621" y="435"/>
                  </a:cubicBezTo>
                  <a:cubicBezTo>
                    <a:pt x="1637" y="385"/>
                    <a:pt x="1587" y="285"/>
                    <a:pt x="1454" y="185"/>
                  </a:cubicBezTo>
                  <a:cubicBezTo>
                    <a:pt x="1255" y="64"/>
                    <a:pt x="1029" y="1"/>
                    <a:pt x="8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0" name="Google Shape;1670;p40"/>
            <p:cNvSpPr/>
            <p:nvPr/>
          </p:nvSpPr>
          <p:spPr>
            <a:xfrm>
              <a:off x="7969439" y="1857201"/>
              <a:ext cx="32164" cy="15392"/>
            </a:xfrm>
            <a:custGeom>
              <a:avLst/>
              <a:gdLst/>
              <a:ahLst/>
              <a:cxnLst/>
              <a:rect l="l" t="t" r="r" b="b"/>
              <a:pathLst>
                <a:path w="1003" h="480" extrusionOk="0">
                  <a:moveTo>
                    <a:pt x="455" y="1"/>
                  </a:moveTo>
                  <a:cubicBezTo>
                    <a:pt x="340" y="1"/>
                    <a:pt x="223" y="33"/>
                    <a:pt x="117" y="99"/>
                  </a:cubicBezTo>
                  <a:cubicBezTo>
                    <a:pt x="17" y="182"/>
                    <a:pt x="0" y="266"/>
                    <a:pt x="34" y="316"/>
                  </a:cubicBezTo>
                  <a:cubicBezTo>
                    <a:pt x="100" y="416"/>
                    <a:pt x="284" y="416"/>
                    <a:pt x="485" y="450"/>
                  </a:cubicBezTo>
                  <a:cubicBezTo>
                    <a:pt x="600" y="459"/>
                    <a:pt x="709" y="480"/>
                    <a:pt x="801" y="480"/>
                  </a:cubicBezTo>
                  <a:cubicBezTo>
                    <a:pt x="869" y="480"/>
                    <a:pt x="927" y="469"/>
                    <a:pt x="969" y="433"/>
                  </a:cubicBezTo>
                  <a:cubicBezTo>
                    <a:pt x="1003" y="400"/>
                    <a:pt x="1003" y="316"/>
                    <a:pt x="936" y="216"/>
                  </a:cubicBezTo>
                  <a:cubicBezTo>
                    <a:pt x="805" y="75"/>
                    <a:pt x="631" y="1"/>
                    <a:pt x="45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1" name="Google Shape;1671;p40"/>
            <p:cNvSpPr/>
            <p:nvPr/>
          </p:nvSpPr>
          <p:spPr>
            <a:xfrm>
              <a:off x="8016578" y="1991018"/>
              <a:ext cx="46113" cy="22223"/>
            </a:xfrm>
            <a:custGeom>
              <a:avLst/>
              <a:gdLst/>
              <a:ahLst/>
              <a:cxnLst/>
              <a:rect l="l" t="t" r="r" b="b"/>
              <a:pathLst>
                <a:path w="1438" h="693" extrusionOk="0">
                  <a:moveTo>
                    <a:pt x="1415" y="0"/>
                  </a:moveTo>
                  <a:cubicBezTo>
                    <a:pt x="1367" y="0"/>
                    <a:pt x="1167" y="295"/>
                    <a:pt x="786" y="454"/>
                  </a:cubicBezTo>
                  <a:cubicBezTo>
                    <a:pt x="385" y="638"/>
                    <a:pt x="1" y="571"/>
                    <a:pt x="1" y="604"/>
                  </a:cubicBezTo>
                  <a:cubicBezTo>
                    <a:pt x="1" y="621"/>
                    <a:pt x="84" y="671"/>
                    <a:pt x="234" y="688"/>
                  </a:cubicBezTo>
                  <a:cubicBezTo>
                    <a:pt x="270" y="691"/>
                    <a:pt x="304" y="692"/>
                    <a:pt x="339" y="692"/>
                  </a:cubicBezTo>
                  <a:cubicBezTo>
                    <a:pt x="719" y="692"/>
                    <a:pt x="1076" y="526"/>
                    <a:pt x="1321" y="220"/>
                  </a:cubicBezTo>
                  <a:cubicBezTo>
                    <a:pt x="1421" y="103"/>
                    <a:pt x="1437" y="3"/>
                    <a:pt x="1421" y="3"/>
                  </a:cubicBezTo>
                  <a:cubicBezTo>
                    <a:pt x="1419" y="1"/>
                    <a:pt x="1417" y="0"/>
                    <a:pt x="141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2" name="Google Shape;1672;p40"/>
            <p:cNvSpPr/>
            <p:nvPr/>
          </p:nvSpPr>
          <p:spPr>
            <a:xfrm>
              <a:off x="7935672" y="4547407"/>
              <a:ext cx="303294" cy="132375"/>
            </a:xfrm>
            <a:custGeom>
              <a:avLst/>
              <a:gdLst/>
              <a:ahLst/>
              <a:cxnLst/>
              <a:rect l="l" t="t" r="r" b="b"/>
              <a:pathLst>
                <a:path w="9458" h="4128" extrusionOk="0">
                  <a:moveTo>
                    <a:pt x="4395" y="0"/>
                  </a:moveTo>
                  <a:lnTo>
                    <a:pt x="4328" y="2707"/>
                  </a:lnTo>
                  <a:cubicBezTo>
                    <a:pt x="4328" y="2707"/>
                    <a:pt x="1" y="3609"/>
                    <a:pt x="1036" y="3943"/>
                  </a:cubicBezTo>
                  <a:cubicBezTo>
                    <a:pt x="1504" y="4085"/>
                    <a:pt x="3171" y="4127"/>
                    <a:pt x="4896" y="4127"/>
                  </a:cubicBezTo>
                  <a:cubicBezTo>
                    <a:pt x="6621" y="4127"/>
                    <a:pt x="8405" y="4085"/>
                    <a:pt x="9107" y="4060"/>
                  </a:cubicBezTo>
                  <a:lnTo>
                    <a:pt x="9407" y="4044"/>
                  </a:lnTo>
                  <a:lnTo>
                    <a:pt x="9458" y="84"/>
                  </a:lnTo>
                  <a:lnTo>
                    <a:pt x="439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3" name="Google Shape;1673;p40"/>
            <p:cNvSpPr/>
            <p:nvPr/>
          </p:nvSpPr>
          <p:spPr>
            <a:xfrm>
              <a:off x="7957638" y="4650280"/>
              <a:ext cx="279725" cy="29823"/>
            </a:xfrm>
            <a:custGeom>
              <a:avLst/>
              <a:gdLst/>
              <a:ahLst/>
              <a:cxnLst/>
              <a:rect l="l" t="t" r="r" b="b"/>
              <a:pathLst>
                <a:path w="8723" h="930" extrusionOk="0">
                  <a:moveTo>
                    <a:pt x="1521" y="0"/>
                  </a:moveTo>
                  <a:cubicBezTo>
                    <a:pt x="1521" y="0"/>
                    <a:pt x="1" y="418"/>
                    <a:pt x="184" y="669"/>
                  </a:cubicBezTo>
                  <a:cubicBezTo>
                    <a:pt x="303" y="831"/>
                    <a:pt x="2774" y="930"/>
                    <a:pt x="5195" y="930"/>
                  </a:cubicBezTo>
                  <a:cubicBezTo>
                    <a:pt x="6515" y="930"/>
                    <a:pt x="7821" y="900"/>
                    <a:pt x="8722" y="836"/>
                  </a:cubicBezTo>
                  <a:lnTo>
                    <a:pt x="8722" y="719"/>
                  </a:lnTo>
                  <a:lnTo>
                    <a:pt x="1955" y="669"/>
                  </a:lnTo>
                  <a:cubicBezTo>
                    <a:pt x="1955" y="669"/>
                    <a:pt x="1822" y="34"/>
                    <a:pt x="152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4" name="Google Shape;1674;p40"/>
            <p:cNvSpPr/>
            <p:nvPr/>
          </p:nvSpPr>
          <p:spPr>
            <a:xfrm>
              <a:off x="7963538" y="4669007"/>
              <a:ext cx="276486" cy="6157"/>
            </a:xfrm>
            <a:custGeom>
              <a:avLst/>
              <a:gdLst/>
              <a:ahLst/>
              <a:cxnLst/>
              <a:rect l="l" t="t" r="r" b="b"/>
              <a:pathLst>
                <a:path w="8622" h="192" extrusionOk="0">
                  <a:moveTo>
                    <a:pt x="8555" y="127"/>
                  </a:moveTo>
                  <a:cubicBezTo>
                    <a:pt x="8544" y="127"/>
                    <a:pt x="8533" y="129"/>
                    <a:pt x="8522" y="135"/>
                  </a:cubicBezTo>
                  <a:lnTo>
                    <a:pt x="8622" y="135"/>
                  </a:lnTo>
                  <a:cubicBezTo>
                    <a:pt x="8600" y="135"/>
                    <a:pt x="8577" y="127"/>
                    <a:pt x="8555" y="127"/>
                  </a:cubicBezTo>
                  <a:close/>
                  <a:moveTo>
                    <a:pt x="0" y="1"/>
                  </a:moveTo>
                  <a:cubicBezTo>
                    <a:pt x="34" y="1"/>
                    <a:pt x="67" y="18"/>
                    <a:pt x="101" y="18"/>
                  </a:cubicBezTo>
                  <a:lnTo>
                    <a:pt x="351" y="34"/>
                  </a:lnTo>
                  <a:lnTo>
                    <a:pt x="1270" y="85"/>
                  </a:lnTo>
                  <a:cubicBezTo>
                    <a:pt x="2039" y="118"/>
                    <a:pt x="3125" y="168"/>
                    <a:pt x="4311" y="185"/>
                  </a:cubicBezTo>
                  <a:cubicBezTo>
                    <a:pt x="4659" y="190"/>
                    <a:pt x="4998" y="192"/>
                    <a:pt x="5322" y="192"/>
                  </a:cubicBezTo>
                  <a:cubicBezTo>
                    <a:pt x="6106" y="192"/>
                    <a:pt x="6809" y="180"/>
                    <a:pt x="7352" y="168"/>
                  </a:cubicBezTo>
                  <a:cubicBezTo>
                    <a:pt x="7720" y="168"/>
                    <a:pt x="8021" y="151"/>
                    <a:pt x="8271" y="151"/>
                  </a:cubicBezTo>
                  <a:lnTo>
                    <a:pt x="8522" y="135"/>
                  </a:lnTo>
                  <a:lnTo>
                    <a:pt x="7352" y="135"/>
                  </a:lnTo>
                  <a:cubicBezTo>
                    <a:pt x="6584" y="135"/>
                    <a:pt x="5498" y="135"/>
                    <a:pt x="4311" y="118"/>
                  </a:cubicBezTo>
                  <a:cubicBezTo>
                    <a:pt x="3125" y="101"/>
                    <a:pt x="2039" y="68"/>
                    <a:pt x="1270" y="34"/>
                  </a:cubicBezTo>
                  <a:lnTo>
                    <a:pt x="35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5" name="Google Shape;1675;p40"/>
            <p:cNvSpPr/>
            <p:nvPr/>
          </p:nvSpPr>
          <p:spPr>
            <a:xfrm>
              <a:off x="8005322" y="4648677"/>
              <a:ext cx="16098" cy="25750"/>
            </a:xfrm>
            <a:custGeom>
              <a:avLst/>
              <a:gdLst/>
              <a:ahLst/>
              <a:cxnLst/>
              <a:rect l="l" t="t" r="r" b="b"/>
              <a:pathLst>
                <a:path w="502" h="803" extrusionOk="0">
                  <a:moveTo>
                    <a:pt x="1" y="0"/>
                  </a:moveTo>
                  <a:lnTo>
                    <a:pt x="1" y="0"/>
                  </a:lnTo>
                  <a:cubicBezTo>
                    <a:pt x="251" y="201"/>
                    <a:pt x="418" y="485"/>
                    <a:pt x="468" y="802"/>
                  </a:cubicBezTo>
                  <a:cubicBezTo>
                    <a:pt x="502" y="451"/>
                    <a:pt x="318" y="134"/>
                    <a:pt x="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6" name="Google Shape;1676;p40"/>
            <p:cNvSpPr/>
            <p:nvPr/>
          </p:nvSpPr>
          <p:spPr>
            <a:xfrm>
              <a:off x="8059965" y="4636876"/>
              <a:ext cx="9684" cy="13949"/>
            </a:xfrm>
            <a:custGeom>
              <a:avLst/>
              <a:gdLst/>
              <a:ahLst/>
              <a:cxnLst/>
              <a:rect l="l" t="t" r="r" b="b"/>
              <a:pathLst>
                <a:path w="302" h="435" extrusionOk="0">
                  <a:moveTo>
                    <a:pt x="18" y="0"/>
                  </a:moveTo>
                  <a:lnTo>
                    <a:pt x="18" y="0"/>
                  </a:lnTo>
                  <a:cubicBezTo>
                    <a:pt x="1" y="17"/>
                    <a:pt x="51" y="117"/>
                    <a:pt x="118" y="234"/>
                  </a:cubicBezTo>
                  <a:cubicBezTo>
                    <a:pt x="201" y="351"/>
                    <a:pt x="268" y="435"/>
                    <a:pt x="285" y="435"/>
                  </a:cubicBezTo>
                  <a:cubicBezTo>
                    <a:pt x="302" y="418"/>
                    <a:pt x="252" y="318"/>
                    <a:pt x="185" y="201"/>
                  </a:cubicBezTo>
                  <a:cubicBezTo>
                    <a:pt x="101" y="84"/>
                    <a:pt x="34" y="0"/>
                    <a:pt x="1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7" name="Google Shape;1677;p40"/>
            <p:cNvSpPr/>
            <p:nvPr/>
          </p:nvSpPr>
          <p:spPr>
            <a:xfrm>
              <a:off x="8071766" y="4634631"/>
              <a:ext cx="10743" cy="9332"/>
            </a:xfrm>
            <a:custGeom>
              <a:avLst/>
              <a:gdLst/>
              <a:ahLst/>
              <a:cxnLst/>
              <a:rect l="l" t="t" r="r" b="b"/>
              <a:pathLst>
                <a:path w="335" h="291" extrusionOk="0">
                  <a:moveTo>
                    <a:pt x="26" y="0"/>
                  </a:moveTo>
                  <a:cubicBezTo>
                    <a:pt x="22" y="0"/>
                    <a:pt x="19" y="1"/>
                    <a:pt x="17" y="4"/>
                  </a:cubicBezTo>
                  <a:cubicBezTo>
                    <a:pt x="1" y="4"/>
                    <a:pt x="67" y="87"/>
                    <a:pt x="151" y="171"/>
                  </a:cubicBezTo>
                  <a:cubicBezTo>
                    <a:pt x="224" y="243"/>
                    <a:pt x="296" y="291"/>
                    <a:pt x="325" y="291"/>
                  </a:cubicBezTo>
                  <a:cubicBezTo>
                    <a:pt x="329" y="291"/>
                    <a:pt x="333" y="290"/>
                    <a:pt x="335" y="288"/>
                  </a:cubicBezTo>
                  <a:cubicBezTo>
                    <a:pt x="335" y="271"/>
                    <a:pt x="285" y="204"/>
                    <a:pt x="184" y="121"/>
                  </a:cubicBezTo>
                  <a:cubicBezTo>
                    <a:pt x="112" y="48"/>
                    <a:pt x="51" y="0"/>
                    <a:pt x="2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8" name="Google Shape;1678;p40"/>
            <p:cNvSpPr/>
            <p:nvPr/>
          </p:nvSpPr>
          <p:spPr>
            <a:xfrm>
              <a:off x="8073915" y="4627544"/>
              <a:ext cx="17188" cy="2084"/>
            </a:xfrm>
            <a:custGeom>
              <a:avLst/>
              <a:gdLst/>
              <a:ahLst/>
              <a:cxnLst/>
              <a:rect l="l" t="t" r="r" b="b"/>
              <a:pathLst>
                <a:path w="536" h="65" extrusionOk="0">
                  <a:moveTo>
                    <a:pt x="183" y="0"/>
                  </a:moveTo>
                  <a:cubicBezTo>
                    <a:pt x="119" y="0"/>
                    <a:pt x="59" y="12"/>
                    <a:pt x="0" y="24"/>
                  </a:cubicBezTo>
                  <a:cubicBezTo>
                    <a:pt x="62" y="49"/>
                    <a:pt x="123" y="64"/>
                    <a:pt x="190" y="64"/>
                  </a:cubicBezTo>
                  <a:cubicBezTo>
                    <a:pt x="215" y="64"/>
                    <a:pt x="241" y="62"/>
                    <a:pt x="268" y="58"/>
                  </a:cubicBezTo>
                  <a:cubicBezTo>
                    <a:pt x="292" y="62"/>
                    <a:pt x="317" y="64"/>
                    <a:pt x="342" y="64"/>
                  </a:cubicBezTo>
                  <a:cubicBezTo>
                    <a:pt x="402" y="64"/>
                    <a:pt x="464" y="53"/>
                    <a:pt x="535" y="41"/>
                  </a:cubicBezTo>
                  <a:cubicBezTo>
                    <a:pt x="462" y="16"/>
                    <a:pt x="397" y="1"/>
                    <a:pt x="335" y="1"/>
                  </a:cubicBezTo>
                  <a:cubicBezTo>
                    <a:pt x="312" y="1"/>
                    <a:pt x="290" y="3"/>
                    <a:pt x="268" y="7"/>
                  </a:cubicBezTo>
                  <a:cubicBezTo>
                    <a:pt x="238" y="3"/>
                    <a:pt x="210" y="0"/>
                    <a:pt x="18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9" name="Google Shape;1679;p40"/>
            <p:cNvSpPr/>
            <p:nvPr/>
          </p:nvSpPr>
          <p:spPr>
            <a:xfrm>
              <a:off x="8074460" y="4617892"/>
              <a:ext cx="19305" cy="2662"/>
            </a:xfrm>
            <a:custGeom>
              <a:avLst/>
              <a:gdLst/>
              <a:ahLst/>
              <a:cxnLst/>
              <a:rect l="l" t="t" r="r" b="b"/>
              <a:pathLst>
                <a:path w="602" h="83" extrusionOk="0">
                  <a:moveTo>
                    <a:pt x="513" y="1"/>
                  </a:moveTo>
                  <a:cubicBezTo>
                    <a:pt x="443" y="1"/>
                    <a:pt x="372" y="13"/>
                    <a:pt x="301" y="24"/>
                  </a:cubicBezTo>
                  <a:cubicBezTo>
                    <a:pt x="271" y="19"/>
                    <a:pt x="242" y="17"/>
                    <a:pt x="213" y="17"/>
                  </a:cubicBezTo>
                  <a:cubicBezTo>
                    <a:pt x="142" y="17"/>
                    <a:pt x="71" y="29"/>
                    <a:pt x="0" y="41"/>
                  </a:cubicBezTo>
                  <a:cubicBezTo>
                    <a:pt x="84" y="69"/>
                    <a:pt x="170" y="82"/>
                    <a:pt x="256" y="82"/>
                  </a:cubicBezTo>
                  <a:cubicBezTo>
                    <a:pt x="376" y="82"/>
                    <a:pt x="494" y="56"/>
                    <a:pt x="602" y="8"/>
                  </a:cubicBezTo>
                  <a:cubicBezTo>
                    <a:pt x="572" y="3"/>
                    <a:pt x="543" y="1"/>
                    <a:pt x="5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0" name="Google Shape;1680;p40"/>
            <p:cNvSpPr/>
            <p:nvPr/>
          </p:nvSpPr>
          <p:spPr>
            <a:xfrm>
              <a:off x="8033189" y="4621419"/>
              <a:ext cx="30560" cy="17637"/>
            </a:xfrm>
            <a:custGeom>
              <a:avLst/>
              <a:gdLst/>
              <a:ahLst/>
              <a:cxnLst/>
              <a:rect l="l" t="t" r="r" b="b"/>
              <a:pathLst>
                <a:path w="953" h="550" extrusionOk="0">
                  <a:moveTo>
                    <a:pt x="319" y="59"/>
                  </a:moveTo>
                  <a:cubicBezTo>
                    <a:pt x="374" y="59"/>
                    <a:pt x="430" y="68"/>
                    <a:pt x="485" y="81"/>
                  </a:cubicBezTo>
                  <a:cubicBezTo>
                    <a:pt x="585" y="115"/>
                    <a:pt x="686" y="182"/>
                    <a:pt x="752" y="265"/>
                  </a:cubicBezTo>
                  <a:cubicBezTo>
                    <a:pt x="795" y="330"/>
                    <a:pt x="831" y="387"/>
                    <a:pt x="861" y="447"/>
                  </a:cubicBezTo>
                  <a:lnTo>
                    <a:pt x="861" y="447"/>
                  </a:lnTo>
                  <a:cubicBezTo>
                    <a:pt x="804" y="440"/>
                    <a:pt x="726" y="432"/>
                    <a:pt x="635" y="416"/>
                  </a:cubicBezTo>
                  <a:cubicBezTo>
                    <a:pt x="518" y="399"/>
                    <a:pt x="402" y="365"/>
                    <a:pt x="301" y="315"/>
                  </a:cubicBezTo>
                  <a:cubicBezTo>
                    <a:pt x="234" y="299"/>
                    <a:pt x="168" y="282"/>
                    <a:pt x="117" y="249"/>
                  </a:cubicBezTo>
                  <a:cubicBezTo>
                    <a:pt x="51" y="215"/>
                    <a:pt x="34" y="148"/>
                    <a:pt x="84" y="115"/>
                  </a:cubicBezTo>
                  <a:cubicBezTo>
                    <a:pt x="162" y="76"/>
                    <a:pt x="241" y="59"/>
                    <a:pt x="319" y="59"/>
                  </a:cubicBezTo>
                  <a:close/>
                  <a:moveTo>
                    <a:pt x="315" y="1"/>
                  </a:moveTo>
                  <a:cubicBezTo>
                    <a:pt x="227" y="1"/>
                    <a:pt x="137" y="21"/>
                    <a:pt x="51" y="65"/>
                  </a:cubicBezTo>
                  <a:cubicBezTo>
                    <a:pt x="17" y="81"/>
                    <a:pt x="1" y="132"/>
                    <a:pt x="1" y="182"/>
                  </a:cubicBezTo>
                  <a:cubicBezTo>
                    <a:pt x="17" y="232"/>
                    <a:pt x="51" y="265"/>
                    <a:pt x="84" y="299"/>
                  </a:cubicBezTo>
                  <a:cubicBezTo>
                    <a:pt x="151" y="332"/>
                    <a:pt x="218" y="349"/>
                    <a:pt x="285" y="382"/>
                  </a:cubicBezTo>
                  <a:cubicBezTo>
                    <a:pt x="385" y="416"/>
                    <a:pt x="502" y="449"/>
                    <a:pt x="619" y="466"/>
                  </a:cubicBezTo>
                  <a:cubicBezTo>
                    <a:pt x="677" y="474"/>
                    <a:pt x="732" y="478"/>
                    <a:pt x="786" y="478"/>
                  </a:cubicBezTo>
                  <a:cubicBezTo>
                    <a:pt x="815" y="478"/>
                    <a:pt x="844" y="477"/>
                    <a:pt x="874" y="475"/>
                  </a:cubicBezTo>
                  <a:lnTo>
                    <a:pt x="874" y="475"/>
                  </a:lnTo>
                  <a:cubicBezTo>
                    <a:pt x="884" y="499"/>
                    <a:pt x="894" y="523"/>
                    <a:pt x="903" y="549"/>
                  </a:cubicBezTo>
                  <a:cubicBezTo>
                    <a:pt x="903" y="518"/>
                    <a:pt x="903" y="502"/>
                    <a:pt x="890" y="473"/>
                  </a:cubicBezTo>
                  <a:lnTo>
                    <a:pt x="890" y="473"/>
                  </a:lnTo>
                  <a:cubicBezTo>
                    <a:pt x="910" y="471"/>
                    <a:pt x="931" y="469"/>
                    <a:pt x="953" y="466"/>
                  </a:cubicBezTo>
                  <a:cubicBezTo>
                    <a:pt x="953" y="458"/>
                    <a:pt x="927" y="454"/>
                    <a:pt x="882" y="449"/>
                  </a:cubicBezTo>
                  <a:lnTo>
                    <a:pt x="882" y="449"/>
                  </a:lnTo>
                  <a:cubicBezTo>
                    <a:pt x="865" y="373"/>
                    <a:pt x="833" y="311"/>
                    <a:pt x="786" y="249"/>
                  </a:cubicBezTo>
                  <a:cubicBezTo>
                    <a:pt x="673" y="90"/>
                    <a:pt x="499" y="1"/>
                    <a:pt x="31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1" name="Google Shape;1681;p40"/>
            <p:cNvSpPr/>
            <p:nvPr/>
          </p:nvSpPr>
          <p:spPr>
            <a:xfrm>
              <a:off x="8059452" y="4616513"/>
              <a:ext cx="15553" cy="20395"/>
            </a:xfrm>
            <a:custGeom>
              <a:avLst/>
              <a:gdLst/>
              <a:ahLst/>
              <a:cxnLst/>
              <a:rect l="l" t="t" r="r" b="b"/>
              <a:pathLst>
                <a:path w="485" h="636" extrusionOk="0">
                  <a:moveTo>
                    <a:pt x="385" y="1"/>
                  </a:moveTo>
                  <a:cubicBezTo>
                    <a:pt x="268" y="17"/>
                    <a:pt x="167" y="67"/>
                    <a:pt x="100" y="168"/>
                  </a:cubicBezTo>
                  <a:cubicBezTo>
                    <a:pt x="50" y="234"/>
                    <a:pt x="17" y="318"/>
                    <a:pt x="17" y="402"/>
                  </a:cubicBezTo>
                  <a:cubicBezTo>
                    <a:pt x="0" y="485"/>
                    <a:pt x="0" y="569"/>
                    <a:pt x="50" y="635"/>
                  </a:cubicBezTo>
                  <a:cubicBezTo>
                    <a:pt x="50" y="569"/>
                    <a:pt x="50" y="485"/>
                    <a:pt x="50" y="418"/>
                  </a:cubicBezTo>
                  <a:cubicBezTo>
                    <a:pt x="67" y="335"/>
                    <a:pt x="100" y="268"/>
                    <a:pt x="151" y="201"/>
                  </a:cubicBezTo>
                  <a:cubicBezTo>
                    <a:pt x="201" y="134"/>
                    <a:pt x="284" y="67"/>
                    <a:pt x="368" y="67"/>
                  </a:cubicBezTo>
                  <a:cubicBezTo>
                    <a:pt x="451" y="84"/>
                    <a:pt x="418" y="201"/>
                    <a:pt x="368" y="285"/>
                  </a:cubicBezTo>
                  <a:cubicBezTo>
                    <a:pt x="334" y="351"/>
                    <a:pt x="284" y="418"/>
                    <a:pt x="234" y="468"/>
                  </a:cubicBezTo>
                  <a:cubicBezTo>
                    <a:pt x="134" y="569"/>
                    <a:pt x="67" y="619"/>
                    <a:pt x="84" y="635"/>
                  </a:cubicBezTo>
                  <a:cubicBezTo>
                    <a:pt x="151" y="602"/>
                    <a:pt x="217" y="552"/>
                    <a:pt x="268" y="502"/>
                  </a:cubicBezTo>
                  <a:cubicBezTo>
                    <a:pt x="318" y="435"/>
                    <a:pt x="385" y="385"/>
                    <a:pt x="418" y="301"/>
                  </a:cubicBezTo>
                  <a:cubicBezTo>
                    <a:pt x="451" y="268"/>
                    <a:pt x="468" y="218"/>
                    <a:pt x="485" y="168"/>
                  </a:cubicBezTo>
                  <a:cubicBezTo>
                    <a:pt x="485" y="84"/>
                    <a:pt x="451" y="17"/>
                    <a:pt x="38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2" name="Google Shape;1682;p40"/>
            <p:cNvSpPr/>
            <p:nvPr/>
          </p:nvSpPr>
          <p:spPr>
            <a:xfrm>
              <a:off x="8178391" y="4627352"/>
              <a:ext cx="58972" cy="46530"/>
            </a:xfrm>
            <a:custGeom>
              <a:avLst/>
              <a:gdLst/>
              <a:ahLst/>
              <a:cxnLst/>
              <a:rect l="l" t="t" r="r" b="b"/>
              <a:pathLst>
                <a:path w="1839" h="1451" extrusionOk="0">
                  <a:moveTo>
                    <a:pt x="1596" y="1"/>
                  </a:moveTo>
                  <a:cubicBezTo>
                    <a:pt x="1550" y="1"/>
                    <a:pt x="1504" y="5"/>
                    <a:pt x="1454" y="13"/>
                  </a:cubicBezTo>
                  <a:cubicBezTo>
                    <a:pt x="819" y="47"/>
                    <a:pt x="268" y="465"/>
                    <a:pt x="67" y="1066"/>
                  </a:cubicBezTo>
                  <a:cubicBezTo>
                    <a:pt x="51" y="1166"/>
                    <a:pt x="17" y="1250"/>
                    <a:pt x="17" y="1350"/>
                  </a:cubicBezTo>
                  <a:cubicBezTo>
                    <a:pt x="1" y="1384"/>
                    <a:pt x="1" y="1417"/>
                    <a:pt x="17" y="1450"/>
                  </a:cubicBezTo>
                  <a:cubicBezTo>
                    <a:pt x="17" y="1450"/>
                    <a:pt x="34" y="1300"/>
                    <a:pt x="117" y="1083"/>
                  </a:cubicBezTo>
                  <a:cubicBezTo>
                    <a:pt x="318" y="515"/>
                    <a:pt x="853" y="97"/>
                    <a:pt x="1454" y="47"/>
                  </a:cubicBezTo>
                  <a:cubicBezTo>
                    <a:pt x="1532" y="41"/>
                    <a:pt x="1601" y="39"/>
                    <a:pt x="1658" y="39"/>
                  </a:cubicBezTo>
                  <a:cubicBezTo>
                    <a:pt x="1772" y="39"/>
                    <a:pt x="1838" y="47"/>
                    <a:pt x="1838" y="47"/>
                  </a:cubicBezTo>
                  <a:cubicBezTo>
                    <a:pt x="1805" y="30"/>
                    <a:pt x="1772" y="13"/>
                    <a:pt x="1738" y="13"/>
                  </a:cubicBezTo>
                  <a:cubicBezTo>
                    <a:pt x="1688" y="5"/>
                    <a:pt x="1642" y="1"/>
                    <a:pt x="159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3" name="Google Shape;1683;p40"/>
            <p:cNvSpPr/>
            <p:nvPr/>
          </p:nvSpPr>
          <p:spPr>
            <a:xfrm>
              <a:off x="8220175" y="4560780"/>
              <a:ext cx="2726" cy="67021"/>
            </a:xfrm>
            <a:custGeom>
              <a:avLst/>
              <a:gdLst/>
              <a:ahLst/>
              <a:cxnLst/>
              <a:rect l="l" t="t" r="r" b="b"/>
              <a:pathLst>
                <a:path w="85" h="2090" extrusionOk="0">
                  <a:moveTo>
                    <a:pt x="34" y="1"/>
                  </a:moveTo>
                  <a:cubicBezTo>
                    <a:pt x="1" y="335"/>
                    <a:pt x="1" y="686"/>
                    <a:pt x="1" y="1037"/>
                  </a:cubicBezTo>
                  <a:cubicBezTo>
                    <a:pt x="1" y="1388"/>
                    <a:pt x="1" y="1739"/>
                    <a:pt x="34" y="2089"/>
                  </a:cubicBezTo>
                  <a:cubicBezTo>
                    <a:pt x="84" y="1388"/>
                    <a:pt x="84" y="686"/>
                    <a:pt x="3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4" name="Google Shape;1684;p40"/>
            <p:cNvSpPr/>
            <p:nvPr/>
          </p:nvSpPr>
          <p:spPr>
            <a:xfrm>
              <a:off x="8110889" y="4658072"/>
              <a:ext cx="47716" cy="2533"/>
            </a:xfrm>
            <a:custGeom>
              <a:avLst/>
              <a:gdLst/>
              <a:ahLst/>
              <a:cxnLst/>
              <a:rect l="l" t="t" r="r" b="b"/>
              <a:pathLst>
                <a:path w="1488" h="79" extrusionOk="0">
                  <a:moveTo>
                    <a:pt x="102" y="0"/>
                  </a:moveTo>
                  <a:cubicBezTo>
                    <a:pt x="37" y="0"/>
                    <a:pt x="0" y="2"/>
                    <a:pt x="0" y="8"/>
                  </a:cubicBezTo>
                  <a:cubicBezTo>
                    <a:pt x="193" y="49"/>
                    <a:pt x="397" y="79"/>
                    <a:pt x="602" y="79"/>
                  </a:cubicBezTo>
                  <a:cubicBezTo>
                    <a:pt x="647" y="79"/>
                    <a:pt x="691" y="78"/>
                    <a:pt x="735" y="75"/>
                  </a:cubicBezTo>
                  <a:cubicBezTo>
                    <a:pt x="780" y="78"/>
                    <a:pt x="824" y="79"/>
                    <a:pt x="869" y="79"/>
                  </a:cubicBezTo>
                  <a:cubicBezTo>
                    <a:pt x="1075" y="79"/>
                    <a:pt x="1281" y="49"/>
                    <a:pt x="1487" y="8"/>
                  </a:cubicBezTo>
                  <a:lnTo>
                    <a:pt x="1471" y="8"/>
                  </a:lnTo>
                  <a:cubicBezTo>
                    <a:pt x="1471" y="2"/>
                    <a:pt x="1435" y="0"/>
                    <a:pt x="1373" y="0"/>
                  </a:cubicBezTo>
                  <a:cubicBezTo>
                    <a:pt x="1248" y="0"/>
                    <a:pt x="1014" y="8"/>
                    <a:pt x="735" y="8"/>
                  </a:cubicBezTo>
                  <a:cubicBezTo>
                    <a:pt x="468" y="8"/>
                    <a:pt x="230" y="0"/>
                    <a:pt x="10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5" name="Google Shape;1685;p40"/>
            <p:cNvSpPr/>
            <p:nvPr/>
          </p:nvSpPr>
          <p:spPr>
            <a:xfrm>
              <a:off x="8184836" y="4658842"/>
              <a:ext cx="5900" cy="9139"/>
            </a:xfrm>
            <a:custGeom>
              <a:avLst/>
              <a:gdLst/>
              <a:ahLst/>
              <a:cxnLst/>
              <a:rect l="l" t="t" r="r" b="b"/>
              <a:pathLst>
                <a:path w="184" h="285" extrusionOk="0">
                  <a:moveTo>
                    <a:pt x="167" y="0"/>
                  </a:moveTo>
                  <a:cubicBezTo>
                    <a:pt x="150" y="0"/>
                    <a:pt x="84" y="34"/>
                    <a:pt x="50" y="117"/>
                  </a:cubicBezTo>
                  <a:cubicBezTo>
                    <a:pt x="0" y="218"/>
                    <a:pt x="17" y="285"/>
                    <a:pt x="33" y="285"/>
                  </a:cubicBezTo>
                  <a:cubicBezTo>
                    <a:pt x="50" y="285"/>
                    <a:pt x="67" y="234"/>
                    <a:pt x="100" y="151"/>
                  </a:cubicBezTo>
                  <a:cubicBezTo>
                    <a:pt x="134" y="67"/>
                    <a:pt x="184" y="17"/>
                    <a:pt x="16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6" name="Google Shape;1686;p40"/>
            <p:cNvSpPr/>
            <p:nvPr/>
          </p:nvSpPr>
          <p:spPr>
            <a:xfrm>
              <a:off x="8196060" y="4644251"/>
              <a:ext cx="7023" cy="6189"/>
            </a:xfrm>
            <a:custGeom>
              <a:avLst/>
              <a:gdLst/>
              <a:ahLst/>
              <a:cxnLst/>
              <a:rect l="l" t="t" r="r" b="b"/>
              <a:pathLst>
                <a:path w="219" h="193" extrusionOk="0">
                  <a:moveTo>
                    <a:pt x="190" y="0"/>
                  </a:moveTo>
                  <a:cubicBezTo>
                    <a:pt x="167" y="0"/>
                    <a:pt x="126" y="30"/>
                    <a:pt x="84" y="71"/>
                  </a:cubicBezTo>
                  <a:cubicBezTo>
                    <a:pt x="34" y="121"/>
                    <a:pt x="1" y="171"/>
                    <a:pt x="1" y="188"/>
                  </a:cubicBezTo>
                  <a:cubicBezTo>
                    <a:pt x="4" y="191"/>
                    <a:pt x="8" y="193"/>
                    <a:pt x="13" y="193"/>
                  </a:cubicBezTo>
                  <a:cubicBezTo>
                    <a:pt x="35" y="193"/>
                    <a:pt x="77" y="163"/>
                    <a:pt x="118" y="121"/>
                  </a:cubicBezTo>
                  <a:cubicBezTo>
                    <a:pt x="185" y="54"/>
                    <a:pt x="218" y="4"/>
                    <a:pt x="201" y="4"/>
                  </a:cubicBezTo>
                  <a:cubicBezTo>
                    <a:pt x="198" y="1"/>
                    <a:pt x="194" y="0"/>
                    <a:pt x="19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7" name="Google Shape;1687;p40"/>
            <p:cNvSpPr/>
            <p:nvPr/>
          </p:nvSpPr>
          <p:spPr>
            <a:xfrm>
              <a:off x="8210009" y="4636651"/>
              <a:ext cx="10037" cy="4105"/>
            </a:xfrm>
            <a:custGeom>
              <a:avLst/>
              <a:gdLst/>
              <a:ahLst/>
              <a:cxnLst/>
              <a:rect l="l" t="t" r="r" b="b"/>
              <a:pathLst>
                <a:path w="313" h="128" extrusionOk="0">
                  <a:moveTo>
                    <a:pt x="216" y="1"/>
                  </a:moveTo>
                  <a:cubicBezTo>
                    <a:pt x="191" y="1"/>
                    <a:pt x="163" y="3"/>
                    <a:pt x="134" y="7"/>
                  </a:cubicBezTo>
                  <a:cubicBezTo>
                    <a:pt x="50" y="41"/>
                    <a:pt x="0" y="108"/>
                    <a:pt x="17" y="124"/>
                  </a:cubicBezTo>
                  <a:cubicBezTo>
                    <a:pt x="19" y="127"/>
                    <a:pt x="22" y="128"/>
                    <a:pt x="26" y="128"/>
                  </a:cubicBezTo>
                  <a:cubicBezTo>
                    <a:pt x="48" y="128"/>
                    <a:pt x="93" y="89"/>
                    <a:pt x="151" y="74"/>
                  </a:cubicBezTo>
                  <a:cubicBezTo>
                    <a:pt x="234" y="41"/>
                    <a:pt x="301" y="41"/>
                    <a:pt x="301" y="24"/>
                  </a:cubicBezTo>
                  <a:cubicBezTo>
                    <a:pt x="313" y="12"/>
                    <a:pt x="275" y="1"/>
                    <a:pt x="21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8" name="Google Shape;1688;p40"/>
            <p:cNvSpPr/>
            <p:nvPr/>
          </p:nvSpPr>
          <p:spPr>
            <a:xfrm>
              <a:off x="8227165" y="4634342"/>
              <a:ext cx="5387" cy="2437"/>
            </a:xfrm>
            <a:custGeom>
              <a:avLst/>
              <a:gdLst/>
              <a:ahLst/>
              <a:cxnLst/>
              <a:rect l="l" t="t" r="r" b="b"/>
              <a:pathLst>
                <a:path w="168" h="76" extrusionOk="0">
                  <a:moveTo>
                    <a:pt x="121" y="0"/>
                  </a:moveTo>
                  <a:cubicBezTo>
                    <a:pt x="104" y="0"/>
                    <a:pt x="84" y="4"/>
                    <a:pt x="67" y="13"/>
                  </a:cubicBezTo>
                  <a:cubicBezTo>
                    <a:pt x="17" y="29"/>
                    <a:pt x="0" y="46"/>
                    <a:pt x="0" y="63"/>
                  </a:cubicBezTo>
                  <a:cubicBezTo>
                    <a:pt x="0" y="71"/>
                    <a:pt x="13" y="75"/>
                    <a:pt x="29" y="75"/>
                  </a:cubicBezTo>
                  <a:cubicBezTo>
                    <a:pt x="46" y="75"/>
                    <a:pt x="67" y="71"/>
                    <a:pt x="84" y="63"/>
                  </a:cubicBezTo>
                  <a:cubicBezTo>
                    <a:pt x="134" y="46"/>
                    <a:pt x="167" y="29"/>
                    <a:pt x="150" y="13"/>
                  </a:cubicBezTo>
                  <a:cubicBezTo>
                    <a:pt x="150" y="4"/>
                    <a:pt x="138" y="0"/>
                    <a:pt x="12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9" name="Google Shape;1689;p40"/>
            <p:cNvSpPr/>
            <p:nvPr/>
          </p:nvSpPr>
          <p:spPr>
            <a:xfrm>
              <a:off x="7804836" y="4480964"/>
              <a:ext cx="286267" cy="207926"/>
            </a:xfrm>
            <a:custGeom>
              <a:avLst/>
              <a:gdLst/>
              <a:ahLst/>
              <a:cxnLst/>
              <a:rect l="l" t="t" r="r" b="b"/>
              <a:pathLst>
                <a:path w="8927" h="6484" extrusionOk="0">
                  <a:moveTo>
                    <a:pt x="7639" y="0"/>
                  </a:moveTo>
                  <a:lnTo>
                    <a:pt x="2827" y="1638"/>
                  </a:lnTo>
                  <a:lnTo>
                    <a:pt x="3696" y="4211"/>
                  </a:lnTo>
                  <a:cubicBezTo>
                    <a:pt x="3696" y="4211"/>
                    <a:pt x="0" y="6484"/>
                    <a:pt x="989" y="6484"/>
                  </a:cubicBezTo>
                  <a:cubicBezTo>
                    <a:pt x="1000" y="6484"/>
                    <a:pt x="1011" y="6484"/>
                    <a:pt x="1023" y="6483"/>
                  </a:cubicBezTo>
                  <a:cubicBezTo>
                    <a:pt x="1992" y="6450"/>
                    <a:pt x="7339" y="4395"/>
                    <a:pt x="8642" y="3860"/>
                  </a:cubicBezTo>
                  <a:lnTo>
                    <a:pt x="8926" y="3743"/>
                  </a:lnTo>
                  <a:lnTo>
                    <a:pt x="763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0" name="Google Shape;1690;p40"/>
            <p:cNvSpPr/>
            <p:nvPr/>
          </p:nvSpPr>
          <p:spPr>
            <a:xfrm>
              <a:off x="7823692" y="4597753"/>
              <a:ext cx="267411" cy="91521"/>
            </a:xfrm>
            <a:custGeom>
              <a:avLst/>
              <a:gdLst/>
              <a:ahLst/>
              <a:cxnLst/>
              <a:rect l="l" t="t" r="r" b="b"/>
              <a:pathLst>
                <a:path w="8339" h="2854" extrusionOk="0">
                  <a:moveTo>
                    <a:pt x="8305" y="1"/>
                  </a:moveTo>
                  <a:lnTo>
                    <a:pt x="1922" y="2240"/>
                  </a:lnTo>
                  <a:cubicBezTo>
                    <a:pt x="1922" y="2240"/>
                    <a:pt x="1619" y="1763"/>
                    <a:pt x="1348" y="1763"/>
                  </a:cubicBezTo>
                  <a:cubicBezTo>
                    <a:pt x="1327" y="1763"/>
                    <a:pt x="1307" y="1766"/>
                    <a:pt x="1287" y="1772"/>
                  </a:cubicBezTo>
                  <a:cubicBezTo>
                    <a:pt x="1287" y="1772"/>
                    <a:pt x="0" y="2674"/>
                    <a:pt x="251" y="2841"/>
                  </a:cubicBezTo>
                  <a:cubicBezTo>
                    <a:pt x="263" y="2850"/>
                    <a:pt x="287" y="2854"/>
                    <a:pt x="320" y="2854"/>
                  </a:cubicBezTo>
                  <a:cubicBezTo>
                    <a:pt x="1014" y="2854"/>
                    <a:pt x="6106" y="1089"/>
                    <a:pt x="8338" y="101"/>
                  </a:cubicBezTo>
                  <a:lnTo>
                    <a:pt x="8305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1" name="Google Shape;1691;p40"/>
            <p:cNvSpPr/>
            <p:nvPr/>
          </p:nvSpPr>
          <p:spPr>
            <a:xfrm>
              <a:off x="7831196" y="4596695"/>
              <a:ext cx="260965" cy="90046"/>
            </a:xfrm>
            <a:custGeom>
              <a:avLst/>
              <a:gdLst/>
              <a:ahLst/>
              <a:cxnLst/>
              <a:rect l="l" t="t" r="r" b="b"/>
              <a:pathLst>
                <a:path w="8138" h="2808" extrusionOk="0">
                  <a:moveTo>
                    <a:pt x="8137" y="0"/>
                  </a:moveTo>
                  <a:cubicBezTo>
                    <a:pt x="8104" y="0"/>
                    <a:pt x="8087" y="17"/>
                    <a:pt x="8054" y="34"/>
                  </a:cubicBezTo>
                  <a:cubicBezTo>
                    <a:pt x="8087" y="34"/>
                    <a:pt x="8121" y="17"/>
                    <a:pt x="8137" y="0"/>
                  </a:cubicBezTo>
                  <a:close/>
                  <a:moveTo>
                    <a:pt x="8054" y="34"/>
                  </a:moveTo>
                  <a:lnTo>
                    <a:pt x="7820" y="117"/>
                  </a:lnTo>
                  <a:lnTo>
                    <a:pt x="6951" y="435"/>
                  </a:lnTo>
                  <a:cubicBezTo>
                    <a:pt x="6216" y="702"/>
                    <a:pt x="5213" y="1070"/>
                    <a:pt x="4077" y="1454"/>
                  </a:cubicBezTo>
                  <a:cubicBezTo>
                    <a:pt x="2958" y="1838"/>
                    <a:pt x="1939" y="2172"/>
                    <a:pt x="1187" y="2406"/>
                  </a:cubicBezTo>
                  <a:lnTo>
                    <a:pt x="318" y="2690"/>
                  </a:lnTo>
                  <a:lnTo>
                    <a:pt x="84" y="2774"/>
                  </a:lnTo>
                  <a:cubicBezTo>
                    <a:pt x="151" y="2757"/>
                    <a:pt x="234" y="2741"/>
                    <a:pt x="318" y="2707"/>
                  </a:cubicBezTo>
                  <a:cubicBezTo>
                    <a:pt x="568" y="2640"/>
                    <a:pt x="853" y="2557"/>
                    <a:pt x="1203" y="2456"/>
                  </a:cubicBezTo>
                  <a:cubicBezTo>
                    <a:pt x="1955" y="2223"/>
                    <a:pt x="2974" y="1888"/>
                    <a:pt x="4111" y="1504"/>
                  </a:cubicBezTo>
                  <a:cubicBezTo>
                    <a:pt x="5230" y="1120"/>
                    <a:pt x="6233" y="752"/>
                    <a:pt x="6968" y="468"/>
                  </a:cubicBezTo>
                  <a:lnTo>
                    <a:pt x="7820" y="134"/>
                  </a:lnTo>
                  <a:lnTo>
                    <a:pt x="8054" y="34"/>
                  </a:lnTo>
                  <a:close/>
                  <a:moveTo>
                    <a:pt x="84" y="2774"/>
                  </a:moveTo>
                  <a:cubicBezTo>
                    <a:pt x="50" y="2774"/>
                    <a:pt x="17" y="2791"/>
                    <a:pt x="0" y="2807"/>
                  </a:cubicBezTo>
                  <a:cubicBezTo>
                    <a:pt x="17" y="2791"/>
                    <a:pt x="50" y="2791"/>
                    <a:pt x="84" y="2774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2" name="Google Shape;1692;p40"/>
            <p:cNvSpPr/>
            <p:nvPr/>
          </p:nvSpPr>
          <p:spPr>
            <a:xfrm>
              <a:off x="7863327" y="4652942"/>
              <a:ext cx="23089" cy="19337"/>
            </a:xfrm>
            <a:custGeom>
              <a:avLst/>
              <a:gdLst/>
              <a:ahLst/>
              <a:cxnLst/>
              <a:rect l="l" t="t" r="r" b="b"/>
              <a:pathLst>
                <a:path w="720" h="603" extrusionOk="0">
                  <a:moveTo>
                    <a:pt x="1" y="1"/>
                  </a:moveTo>
                  <a:lnTo>
                    <a:pt x="1" y="1"/>
                  </a:lnTo>
                  <a:cubicBezTo>
                    <a:pt x="302" y="101"/>
                    <a:pt x="552" y="318"/>
                    <a:pt x="719" y="602"/>
                  </a:cubicBezTo>
                  <a:cubicBezTo>
                    <a:pt x="619" y="268"/>
                    <a:pt x="335" y="34"/>
                    <a:pt x="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3" name="Google Shape;1693;p40"/>
            <p:cNvSpPr/>
            <p:nvPr/>
          </p:nvSpPr>
          <p:spPr>
            <a:xfrm>
              <a:off x="7911012" y="4623407"/>
              <a:ext cx="12891" cy="10294"/>
            </a:xfrm>
            <a:custGeom>
              <a:avLst/>
              <a:gdLst/>
              <a:ahLst/>
              <a:cxnLst/>
              <a:rect l="l" t="t" r="r" b="b"/>
              <a:pathLst>
                <a:path w="402" h="321" extrusionOk="0">
                  <a:moveTo>
                    <a:pt x="9" y="0"/>
                  </a:moveTo>
                  <a:cubicBezTo>
                    <a:pt x="5" y="0"/>
                    <a:pt x="3" y="1"/>
                    <a:pt x="1" y="3"/>
                  </a:cubicBezTo>
                  <a:cubicBezTo>
                    <a:pt x="1" y="19"/>
                    <a:pt x="68" y="86"/>
                    <a:pt x="185" y="187"/>
                  </a:cubicBezTo>
                  <a:cubicBezTo>
                    <a:pt x="285" y="270"/>
                    <a:pt x="385" y="320"/>
                    <a:pt x="402" y="320"/>
                  </a:cubicBezTo>
                  <a:cubicBezTo>
                    <a:pt x="402" y="303"/>
                    <a:pt x="335" y="220"/>
                    <a:pt x="218" y="136"/>
                  </a:cubicBezTo>
                  <a:cubicBezTo>
                    <a:pt x="128" y="62"/>
                    <a:pt x="39" y="0"/>
                    <a:pt x="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4" name="Google Shape;1694;p40"/>
            <p:cNvSpPr/>
            <p:nvPr/>
          </p:nvSpPr>
          <p:spPr>
            <a:xfrm>
              <a:off x="7921209" y="4616898"/>
              <a:ext cx="12891" cy="5740"/>
            </a:xfrm>
            <a:custGeom>
              <a:avLst/>
              <a:gdLst/>
              <a:ahLst/>
              <a:cxnLst/>
              <a:rect l="l" t="t" r="r" b="b"/>
              <a:pathLst>
                <a:path w="402" h="179" extrusionOk="0">
                  <a:moveTo>
                    <a:pt x="15" y="1"/>
                  </a:moveTo>
                  <a:cubicBezTo>
                    <a:pt x="8" y="1"/>
                    <a:pt x="3" y="2"/>
                    <a:pt x="0" y="5"/>
                  </a:cubicBezTo>
                  <a:cubicBezTo>
                    <a:pt x="0" y="22"/>
                    <a:pt x="84" y="72"/>
                    <a:pt x="184" y="122"/>
                  </a:cubicBezTo>
                  <a:cubicBezTo>
                    <a:pt x="272" y="160"/>
                    <a:pt x="341" y="179"/>
                    <a:pt x="377" y="179"/>
                  </a:cubicBezTo>
                  <a:cubicBezTo>
                    <a:pt x="389" y="179"/>
                    <a:pt x="397" y="176"/>
                    <a:pt x="401" y="172"/>
                  </a:cubicBezTo>
                  <a:cubicBezTo>
                    <a:pt x="401" y="156"/>
                    <a:pt x="318" y="105"/>
                    <a:pt x="218" y="72"/>
                  </a:cubicBezTo>
                  <a:cubicBezTo>
                    <a:pt x="121" y="31"/>
                    <a:pt x="48" y="1"/>
                    <a:pt x="1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5" name="Google Shape;1695;p40"/>
            <p:cNvSpPr/>
            <p:nvPr/>
          </p:nvSpPr>
          <p:spPr>
            <a:xfrm>
              <a:off x="7920664" y="4605257"/>
              <a:ext cx="16643" cy="5932"/>
            </a:xfrm>
            <a:custGeom>
              <a:avLst/>
              <a:gdLst/>
              <a:ahLst/>
              <a:cxnLst/>
              <a:rect l="l" t="t" r="r" b="b"/>
              <a:pathLst>
                <a:path w="519" h="185" extrusionOk="0">
                  <a:moveTo>
                    <a:pt x="502" y="1"/>
                  </a:moveTo>
                  <a:cubicBezTo>
                    <a:pt x="418" y="1"/>
                    <a:pt x="318" y="17"/>
                    <a:pt x="251" y="67"/>
                  </a:cubicBezTo>
                  <a:cubicBezTo>
                    <a:pt x="101" y="118"/>
                    <a:pt x="1" y="168"/>
                    <a:pt x="1" y="184"/>
                  </a:cubicBezTo>
                  <a:cubicBezTo>
                    <a:pt x="101" y="184"/>
                    <a:pt x="184" y="151"/>
                    <a:pt x="268" y="118"/>
                  </a:cubicBezTo>
                  <a:cubicBezTo>
                    <a:pt x="402" y="67"/>
                    <a:pt x="519" y="17"/>
                    <a:pt x="50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6" name="Google Shape;1696;p40"/>
            <p:cNvSpPr/>
            <p:nvPr/>
          </p:nvSpPr>
          <p:spPr>
            <a:xfrm>
              <a:off x="7918516" y="4594001"/>
              <a:ext cx="17733" cy="7600"/>
            </a:xfrm>
            <a:custGeom>
              <a:avLst/>
              <a:gdLst/>
              <a:ahLst/>
              <a:cxnLst/>
              <a:rect l="l" t="t" r="r" b="b"/>
              <a:pathLst>
                <a:path w="553" h="237" extrusionOk="0">
                  <a:moveTo>
                    <a:pt x="552" y="1"/>
                  </a:moveTo>
                  <a:cubicBezTo>
                    <a:pt x="368" y="84"/>
                    <a:pt x="185" y="168"/>
                    <a:pt x="1" y="235"/>
                  </a:cubicBezTo>
                  <a:cubicBezTo>
                    <a:pt x="15" y="236"/>
                    <a:pt x="30" y="237"/>
                    <a:pt x="45" y="237"/>
                  </a:cubicBezTo>
                  <a:cubicBezTo>
                    <a:pt x="230" y="237"/>
                    <a:pt x="413" y="140"/>
                    <a:pt x="55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7" name="Google Shape;1697;p40"/>
            <p:cNvSpPr/>
            <p:nvPr/>
          </p:nvSpPr>
          <p:spPr>
            <a:xfrm>
              <a:off x="7881542" y="4613627"/>
              <a:ext cx="32196" cy="12795"/>
            </a:xfrm>
            <a:custGeom>
              <a:avLst/>
              <a:gdLst/>
              <a:ahLst/>
              <a:cxnLst/>
              <a:rect l="l" t="t" r="r" b="b"/>
              <a:pathLst>
                <a:path w="1004" h="399" extrusionOk="0">
                  <a:moveTo>
                    <a:pt x="435" y="57"/>
                  </a:moveTo>
                  <a:cubicBezTo>
                    <a:pt x="552" y="57"/>
                    <a:pt x="669" y="91"/>
                    <a:pt x="770" y="141"/>
                  </a:cubicBezTo>
                  <a:cubicBezTo>
                    <a:pt x="824" y="173"/>
                    <a:pt x="878" y="220"/>
                    <a:pt x="923" y="271"/>
                  </a:cubicBezTo>
                  <a:lnTo>
                    <a:pt x="923" y="271"/>
                  </a:lnTo>
                  <a:cubicBezTo>
                    <a:pt x="869" y="286"/>
                    <a:pt x="788" y="307"/>
                    <a:pt x="686" y="324"/>
                  </a:cubicBezTo>
                  <a:cubicBezTo>
                    <a:pt x="586" y="341"/>
                    <a:pt x="469" y="341"/>
                    <a:pt x="352" y="341"/>
                  </a:cubicBezTo>
                  <a:cubicBezTo>
                    <a:pt x="285" y="341"/>
                    <a:pt x="218" y="341"/>
                    <a:pt x="151" y="324"/>
                  </a:cubicBezTo>
                  <a:cubicBezTo>
                    <a:pt x="85" y="308"/>
                    <a:pt x="51" y="258"/>
                    <a:pt x="85" y="207"/>
                  </a:cubicBezTo>
                  <a:cubicBezTo>
                    <a:pt x="168" y="107"/>
                    <a:pt x="302" y="57"/>
                    <a:pt x="435" y="57"/>
                  </a:cubicBezTo>
                  <a:close/>
                  <a:moveTo>
                    <a:pt x="452" y="0"/>
                  </a:moveTo>
                  <a:cubicBezTo>
                    <a:pt x="300" y="0"/>
                    <a:pt x="148" y="60"/>
                    <a:pt x="34" y="174"/>
                  </a:cubicBezTo>
                  <a:cubicBezTo>
                    <a:pt x="1" y="224"/>
                    <a:pt x="1" y="274"/>
                    <a:pt x="18" y="324"/>
                  </a:cubicBezTo>
                  <a:cubicBezTo>
                    <a:pt x="51" y="358"/>
                    <a:pt x="85" y="375"/>
                    <a:pt x="135" y="391"/>
                  </a:cubicBezTo>
                  <a:cubicBezTo>
                    <a:pt x="179" y="391"/>
                    <a:pt x="224" y="399"/>
                    <a:pt x="273" y="399"/>
                  </a:cubicBezTo>
                  <a:cubicBezTo>
                    <a:pt x="298" y="399"/>
                    <a:pt x="324" y="397"/>
                    <a:pt x="352" y="391"/>
                  </a:cubicBezTo>
                  <a:cubicBezTo>
                    <a:pt x="469" y="391"/>
                    <a:pt x="586" y="391"/>
                    <a:pt x="703" y="358"/>
                  </a:cubicBezTo>
                  <a:cubicBezTo>
                    <a:pt x="779" y="345"/>
                    <a:pt x="865" y="323"/>
                    <a:pt x="939" y="290"/>
                  </a:cubicBezTo>
                  <a:lnTo>
                    <a:pt x="939" y="290"/>
                  </a:lnTo>
                  <a:cubicBezTo>
                    <a:pt x="957" y="312"/>
                    <a:pt x="973" y="335"/>
                    <a:pt x="987" y="358"/>
                  </a:cubicBezTo>
                  <a:cubicBezTo>
                    <a:pt x="1003" y="358"/>
                    <a:pt x="988" y="328"/>
                    <a:pt x="958" y="282"/>
                  </a:cubicBezTo>
                  <a:lnTo>
                    <a:pt x="958" y="282"/>
                  </a:lnTo>
                  <a:cubicBezTo>
                    <a:pt x="974" y="274"/>
                    <a:pt x="989" y="266"/>
                    <a:pt x="1003" y="258"/>
                  </a:cubicBezTo>
                  <a:cubicBezTo>
                    <a:pt x="1003" y="255"/>
                    <a:pt x="1001" y="254"/>
                    <a:pt x="997" y="254"/>
                  </a:cubicBezTo>
                  <a:cubicBezTo>
                    <a:pt x="988" y="254"/>
                    <a:pt x="971" y="258"/>
                    <a:pt x="946" y="265"/>
                  </a:cubicBezTo>
                  <a:lnTo>
                    <a:pt x="946" y="265"/>
                  </a:lnTo>
                  <a:cubicBezTo>
                    <a:pt x="899" y="201"/>
                    <a:pt x="850" y="139"/>
                    <a:pt x="786" y="107"/>
                  </a:cubicBezTo>
                  <a:cubicBezTo>
                    <a:pt x="685" y="35"/>
                    <a:pt x="568" y="0"/>
                    <a:pt x="45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8" name="Google Shape;1698;p40"/>
            <p:cNvSpPr/>
            <p:nvPr/>
          </p:nvSpPr>
          <p:spPr>
            <a:xfrm>
              <a:off x="7907260" y="4600447"/>
              <a:ext cx="12378" cy="22543"/>
            </a:xfrm>
            <a:custGeom>
              <a:avLst/>
              <a:gdLst/>
              <a:ahLst/>
              <a:cxnLst/>
              <a:rect l="l" t="t" r="r" b="b"/>
              <a:pathLst>
                <a:path w="386" h="703" extrusionOk="0">
                  <a:moveTo>
                    <a:pt x="235" y="0"/>
                  </a:moveTo>
                  <a:cubicBezTo>
                    <a:pt x="135" y="50"/>
                    <a:pt x="51" y="134"/>
                    <a:pt x="34" y="251"/>
                  </a:cubicBezTo>
                  <a:cubicBezTo>
                    <a:pt x="1" y="334"/>
                    <a:pt x="1" y="418"/>
                    <a:pt x="18" y="502"/>
                  </a:cubicBezTo>
                  <a:cubicBezTo>
                    <a:pt x="34" y="585"/>
                    <a:pt x="68" y="652"/>
                    <a:pt x="135" y="702"/>
                  </a:cubicBezTo>
                  <a:cubicBezTo>
                    <a:pt x="101" y="635"/>
                    <a:pt x="85" y="568"/>
                    <a:pt x="68" y="502"/>
                  </a:cubicBezTo>
                  <a:cubicBezTo>
                    <a:pt x="51" y="418"/>
                    <a:pt x="68" y="334"/>
                    <a:pt x="85" y="268"/>
                  </a:cubicBezTo>
                  <a:cubicBezTo>
                    <a:pt x="118" y="184"/>
                    <a:pt x="168" y="84"/>
                    <a:pt x="252" y="67"/>
                  </a:cubicBezTo>
                  <a:cubicBezTo>
                    <a:pt x="255" y="66"/>
                    <a:pt x="259" y="66"/>
                    <a:pt x="263" y="66"/>
                  </a:cubicBezTo>
                  <a:cubicBezTo>
                    <a:pt x="320" y="66"/>
                    <a:pt x="334" y="189"/>
                    <a:pt x="318" y="268"/>
                  </a:cubicBezTo>
                  <a:cubicBezTo>
                    <a:pt x="302" y="334"/>
                    <a:pt x="285" y="418"/>
                    <a:pt x="252" y="485"/>
                  </a:cubicBezTo>
                  <a:cubicBezTo>
                    <a:pt x="201" y="618"/>
                    <a:pt x="151" y="685"/>
                    <a:pt x="151" y="702"/>
                  </a:cubicBezTo>
                  <a:cubicBezTo>
                    <a:pt x="218" y="652"/>
                    <a:pt x="268" y="585"/>
                    <a:pt x="285" y="502"/>
                  </a:cubicBezTo>
                  <a:cubicBezTo>
                    <a:pt x="335" y="435"/>
                    <a:pt x="352" y="351"/>
                    <a:pt x="369" y="268"/>
                  </a:cubicBezTo>
                  <a:cubicBezTo>
                    <a:pt x="385" y="217"/>
                    <a:pt x="385" y="167"/>
                    <a:pt x="385" y="117"/>
                  </a:cubicBezTo>
                  <a:cubicBezTo>
                    <a:pt x="369" y="50"/>
                    <a:pt x="302" y="0"/>
                    <a:pt x="23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9" name="Google Shape;1699;p40"/>
            <p:cNvSpPr/>
            <p:nvPr/>
          </p:nvSpPr>
          <p:spPr>
            <a:xfrm>
              <a:off x="8032131" y="4555424"/>
              <a:ext cx="42361" cy="62724"/>
            </a:xfrm>
            <a:custGeom>
              <a:avLst/>
              <a:gdLst/>
              <a:ahLst/>
              <a:cxnLst/>
              <a:rect l="l" t="t" r="r" b="b"/>
              <a:pathLst>
                <a:path w="1321" h="1956" extrusionOk="0">
                  <a:moveTo>
                    <a:pt x="1320" y="1"/>
                  </a:moveTo>
                  <a:cubicBezTo>
                    <a:pt x="1287" y="1"/>
                    <a:pt x="1253" y="1"/>
                    <a:pt x="1220" y="17"/>
                  </a:cubicBezTo>
                  <a:cubicBezTo>
                    <a:pt x="1136" y="34"/>
                    <a:pt x="1036" y="68"/>
                    <a:pt x="952" y="101"/>
                  </a:cubicBezTo>
                  <a:cubicBezTo>
                    <a:pt x="368" y="352"/>
                    <a:pt x="0" y="936"/>
                    <a:pt x="17" y="1571"/>
                  </a:cubicBezTo>
                  <a:cubicBezTo>
                    <a:pt x="17" y="1672"/>
                    <a:pt x="34" y="1755"/>
                    <a:pt x="50" y="1855"/>
                  </a:cubicBezTo>
                  <a:cubicBezTo>
                    <a:pt x="50" y="1889"/>
                    <a:pt x="67" y="1922"/>
                    <a:pt x="84" y="1956"/>
                  </a:cubicBezTo>
                  <a:cubicBezTo>
                    <a:pt x="100" y="1939"/>
                    <a:pt x="50" y="1805"/>
                    <a:pt x="67" y="1571"/>
                  </a:cubicBezTo>
                  <a:cubicBezTo>
                    <a:pt x="67" y="953"/>
                    <a:pt x="418" y="402"/>
                    <a:pt x="969" y="134"/>
                  </a:cubicBezTo>
                  <a:cubicBezTo>
                    <a:pt x="1186" y="34"/>
                    <a:pt x="1320" y="17"/>
                    <a:pt x="13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0" name="Google Shape;1700;p40"/>
            <p:cNvSpPr/>
            <p:nvPr/>
          </p:nvSpPr>
          <p:spPr>
            <a:xfrm>
              <a:off x="8036396" y="4497029"/>
              <a:ext cx="22543" cy="63269"/>
            </a:xfrm>
            <a:custGeom>
              <a:avLst/>
              <a:gdLst/>
              <a:ahLst/>
              <a:cxnLst/>
              <a:rect l="l" t="t" r="r" b="b"/>
              <a:pathLst>
                <a:path w="703" h="1973" extrusionOk="0">
                  <a:moveTo>
                    <a:pt x="1" y="1"/>
                  </a:moveTo>
                  <a:cubicBezTo>
                    <a:pt x="201" y="669"/>
                    <a:pt x="435" y="1320"/>
                    <a:pt x="703" y="1972"/>
                  </a:cubicBezTo>
                  <a:cubicBezTo>
                    <a:pt x="619" y="1621"/>
                    <a:pt x="519" y="1304"/>
                    <a:pt x="385" y="970"/>
                  </a:cubicBezTo>
                  <a:cubicBezTo>
                    <a:pt x="285" y="635"/>
                    <a:pt x="151" y="318"/>
                    <a:pt x="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1" name="Google Shape;1701;p40"/>
            <p:cNvSpPr/>
            <p:nvPr/>
          </p:nvSpPr>
          <p:spPr>
            <a:xfrm>
              <a:off x="7965687" y="4610580"/>
              <a:ext cx="45023" cy="15617"/>
            </a:xfrm>
            <a:custGeom>
              <a:avLst/>
              <a:gdLst/>
              <a:ahLst/>
              <a:cxnLst/>
              <a:rect l="l" t="t" r="r" b="b"/>
              <a:pathLst>
                <a:path w="1404" h="487" extrusionOk="0">
                  <a:moveTo>
                    <a:pt x="1384" y="0"/>
                  </a:moveTo>
                  <a:cubicBezTo>
                    <a:pt x="1352" y="0"/>
                    <a:pt x="1064" y="126"/>
                    <a:pt x="702" y="252"/>
                  </a:cubicBezTo>
                  <a:cubicBezTo>
                    <a:pt x="318" y="386"/>
                    <a:pt x="0" y="470"/>
                    <a:pt x="0" y="486"/>
                  </a:cubicBezTo>
                  <a:cubicBezTo>
                    <a:pt x="485" y="419"/>
                    <a:pt x="969" y="252"/>
                    <a:pt x="1404" y="2"/>
                  </a:cubicBezTo>
                  <a:lnTo>
                    <a:pt x="1387" y="2"/>
                  </a:lnTo>
                  <a:cubicBezTo>
                    <a:pt x="1387" y="1"/>
                    <a:pt x="1386" y="0"/>
                    <a:pt x="138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2" name="Google Shape;1702;p40"/>
            <p:cNvSpPr/>
            <p:nvPr/>
          </p:nvSpPr>
          <p:spPr>
            <a:xfrm>
              <a:off x="8037999" y="4599902"/>
              <a:ext cx="3271" cy="10294"/>
            </a:xfrm>
            <a:custGeom>
              <a:avLst/>
              <a:gdLst/>
              <a:ahLst/>
              <a:cxnLst/>
              <a:rect l="l" t="t" r="r" b="b"/>
              <a:pathLst>
                <a:path w="102" h="321" extrusionOk="0">
                  <a:moveTo>
                    <a:pt x="84" y="1"/>
                  </a:moveTo>
                  <a:lnTo>
                    <a:pt x="84" y="1"/>
                  </a:lnTo>
                  <a:cubicBezTo>
                    <a:pt x="68" y="1"/>
                    <a:pt x="18" y="67"/>
                    <a:pt x="1" y="151"/>
                  </a:cubicBezTo>
                  <a:cubicBezTo>
                    <a:pt x="1" y="243"/>
                    <a:pt x="29" y="320"/>
                    <a:pt x="46" y="320"/>
                  </a:cubicBezTo>
                  <a:cubicBezTo>
                    <a:pt x="48" y="320"/>
                    <a:pt x="50" y="319"/>
                    <a:pt x="51" y="318"/>
                  </a:cubicBezTo>
                  <a:cubicBezTo>
                    <a:pt x="68" y="318"/>
                    <a:pt x="68" y="251"/>
                    <a:pt x="68" y="168"/>
                  </a:cubicBezTo>
                  <a:cubicBezTo>
                    <a:pt x="84" y="84"/>
                    <a:pt x="101" y="17"/>
                    <a:pt x="8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3" name="Google Shape;1703;p40"/>
            <p:cNvSpPr/>
            <p:nvPr/>
          </p:nvSpPr>
          <p:spPr>
            <a:xfrm>
              <a:off x="8042841" y="4582104"/>
              <a:ext cx="4842" cy="7760"/>
            </a:xfrm>
            <a:custGeom>
              <a:avLst/>
              <a:gdLst/>
              <a:ahLst/>
              <a:cxnLst/>
              <a:rect l="l" t="t" r="r" b="b"/>
              <a:pathLst>
                <a:path w="151" h="242" extrusionOk="0">
                  <a:moveTo>
                    <a:pt x="127" y="1"/>
                  </a:moveTo>
                  <a:cubicBezTo>
                    <a:pt x="108" y="1"/>
                    <a:pt x="79" y="46"/>
                    <a:pt x="50" y="104"/>
                  </a:cubicBezTo>
                  <a:cubicBezTo>
                    <a:pt x="17" y="171"/>
                    <a:pt x="0" y="238"/>
                    <a:pt x="17" y="238"/>
                  </a:cubicBezTo>
                  <a:cubicBezTo>
                    <a:pt x="19" y="240"/>
                    <a:pt x="22" y="241"/>
                    <a:pt x="24" y="241"/>
                  </a:cubicBezTo>
                  <a:cubicBezTo>
                    <a:pt x="42" y="241"/>
                    <a:pt x="71" y="196"/>
                    <a:pt x="101" y="138"/>
                  </a:cubicBezTo>
                  <a:cubicBezTo>
                    <a:pt x="134" y="71"/>
                    <a:pt x="151" y="4"/>
                    <a:pt x="134" y="4"/>
                  </a:cubicBezTo>
                  <a:cubicBezTo>
                    <a:pt x="132" y="2"/>
                    <a:pt x="129" y="1"/>
                    <a:pt x="12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4" name="Google Shape;1704;p40"/>
            <p:cNvSpPr/>
            <p:nvPr/>
          </p:nvSpPr>
          <p:spPr>
            <a:xfrm>
              <a:off x="8053007" y="4569598"/>
              <a:ext cx="8081" cy="6317"/>
            </a:xfrm>
            <a:custGeom>
              <a:avLst/>
              <a:gdLst/>
              <a:ahLst/>
              <a:cxnLst/>
              <a:rect l="l" t="t" r="r" b="b"/>
              <a:pathLst>
                <a:path w="252" h="197" extrusionOk="0">
                  <a:moveTo>
                    <a:pt x="227" y="1"/>
                  </a:moveTo>
                  <a:cubicBezTo>
                    <a:pt x="198" y="1"/>
                    <a:pt x="146" y="15"/>
                    <a:pt x="101" y="60"/>
                  </a:cubicBezTo>
                  <a:cubicBezTo>
                    <a:pt x="17" y="110"/>
                    <a:pt x="1" y="194"/>
                    <a:pt x="17" y="194"/>
                  </a:cubicBezTo>
                  <a:cubicBezTo>
                    <a:pt x="19" y="195"/>
                    <a:pt x="21" y="196"/>
                    <a:pt x="23" y="196"/>
                  </a:cubicBezTo>
                  <a:cubicBezTo>
                    <a:pt x="42" y="196"/>
                    <a:pt x="75" y="138"/>
                    <a:pt x="134" y="93"/>
                  </a:cubicBezTo>
                  <a:cubicBezTo>
                    <a:pt x="185" y="60"/>
                    <a:pt x="251" y="27"/>
                    <a:pt x="251" y="10"/>
                  </a:cubicBezTo>
                  <a:cubicBezTo>
                    <a:pt x="251" y="4"/>
                    <a:pt x="242" y="1"/>
                    <a:pt x="22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5" name="Google Shape;1705;p40"/>
            <p:cNvSpPr/>
            <p:nvPr/>
          </p:nvSpPr>
          <p:spPr>
            <a:xfrm>
              <a:off x="8067469" y="4562736"/>
              <a:ext cx="4874" cy="3656"/>
            </a:xfrm>
            <a:custGeom>
              <a:avLst/>
              <a:gdLst/>
              <a:ahLst/>
              <a:cxnLst/>
              <a:rect l="l" t="t" r="r" b="b"/>
              <a:pathLst>
                <a:path w="152" h="114" extrusionOk="0">
                  <a:moveTo>
                    <a:pt x="118" y="0"/>
                  </a:moveTo>
                  <a:cubicBezTo>
                    <a:pt x="100" y="0"/>
                    <a:pt x="75" y="16"/>
                    <a:pt x="51" y="40"/>
                  </a:cubicBezTo>
                  <a:cubicBezTo>
                    <a:pt x="18" y="74"/>
                    <a:pt x="1" y="107"/>
                    <a:pt x="1" y="107"/>
                  </a:cubicBezTo>
                  <a:cubicBezTo>
                    <a:pt x="6" y="112"/>
                    <a:pt x="12" y="114"/>
                    <a:pt x="19" y="114"/>
                  </a:cubicBezTo>
                  <a:cubicBezTo>
                    <a:pt x="37" y="114"/>
                    <a:pt x="61" y="102"/>
                    <a:pt x="84" y="90"/>
                  </a:cubicBezTo>
                  <a:cubicBezTo>
                    <a:pt x="118" y="57"/>
                    <a:pt x="151" y="23"/>
                    <a:pt x="135" y="7"/>
                  </a:cubicBezTo>
                  <a:cubicBezTo>
                    <a:pt x="130" y="2"/>
                    <a:pt x="124" y="0"/>
                    <a:pt x="11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6" name="Google Shape;1706;p40"/>
            <p:cNvSpPr/>
            <p:nvPr/>
          </p:nvSpPr>
          <p:spPr>
            <a:xfrm>
              <a:off x="7568659" y="3007494"/>
              <a:ext cx="723892" cy="1610109"/>
            </a:xfrm>
            <a:custGeom>
              <a:avLst/>
              <a:gdLst/>
              <a:ahLst/>
              <a:cxnLst/>
              <a:rect l="l" t="t" r="r" b="b"/>
              <a:pathLst>
                <a:path w="22574" h="50210" extrusionOk="0">
                  <a:moveTo>
                    <a:pt x="13601" y="7052"/>
                  </a:moveTo>
                  <a:cubicBezTo>
                    <a:pt x="13785" y="9458"/>
                    <a:pt x="14286" y="29174"/>
                    <a:pt x="14169" y="40753"/>
                  </a:cubicBezTo>
                  <a:cubicBezTo>
                    <a:pt x="12197" y="34604"/>
                    <a:pt x="9023" y="26601"/>
                    <a:pt x="9040" y="25765"/>
                  </a:cubicBezTo>
                  <a:cubicBezTo>
                    <a:pt x="9090" y="24395"/>
                    <a:pt x="13601" y="7052"/>
                    <a:pt x="13601" y="7052"/>
                  </a:cubicBezTo>
                  <a:close/>
                  <a:moveTo>
                    <a:pt x="7435" y="1"/>
                  </a:moveTo>
                  <a:cubicBezTo>
                    <a:pt x="7435" y="1"/>
                    <a:pt x="0" y="22557"/>
                    <a:pt x="1320" y="27921"/>
                  </a:cubicBezTo>
                  <a:cubicBezTo>
                    <a:pt x="2907" y="34354"/>
                    <a:pt x="10243" y="49441"/>
                    <a:pt x="10243" y="49441"/>
                  </a:cubicBezTo>
                  <a:lnTo>
                    <a:pt x="14152" y="48422"/>
                  </a:lnTo>
                  <a:lnTo>
                    <a:pt x="14152" y="48422"/>
                  </a:lnTo>
                  <a:cubicBezTo>
                    <a:pt x="14136" y="49408"/>
                    <a:pt x="14152" y="49959"/>
                    <a:pt x="14152" y="49959"/>
                  </a:cubicBezTo>
                  <a:lnTo>
                    <a:pt x="21521" y="50210"/>
                  </a:lnTo>
                  <a:lnTo>
                    <a:pt x="22573" y="1"/>
                  </a:lnTo>
                  <a:lnTo>
                    <a:pt x="13400" y="268"/>
                  </a:lnTo>
                  <a:lnTo>
                    <a:pt x="7435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7" name="Google Shape;1707;p40"/>
            <p:cNvSpPr/>
            <p:nvPr/>
          </p:nvSpPr>
          <p:spPr>
            <a:xfrm>
              <a:off x="8021388" y="4208775"/>
              <a:ext cx="4874" cy="397605"/>
            </a:xfrm>
            <a:custGeom>
              <a:avLst/>
              <a:gdLst/>
              <a:ahLst/>
              <a:cxnLst/>
              <a:rect l="l" t="t" r="r" b="b"/>
              <a:pathLst>
                <a:path w="152" h="12399" extrusionOk="0">
                  <a:moveTo>
                    <a:pt x="84" y="0"/>
                  </a:moveTo>
                  <a:cubicBezTo>
                    <a:pt x="68" y="167"/>
                    <a:pt x="51" y="335"/>
                    <a:pt x="51" y="502"/>
                  </a:cubicBezTo>
                  <a:cubicBezTo>
                    <a:pt x="51" y="836"/>
                    <a:pt x="51" y="1270"/>
                    <a:pt x="34" y="1822"/>
                  </a:cubicBezTo>
                  <a:cubicBezTo>
                    <a:pt x="18" y="2941"/>
                    <a:pt x="1" y="4495"/>
                    <a:pt x="1" y="6199"/>
                  </a:cubicBezTo>
                  <a:cubicBezTo>
                    <a:pt x="1" y="7903"/>
                    <a:pt x="1" y="9457"/>
                    <a:pt x="1" y="10577"/>
                  </a:cubicBezTo>
                  <a:cubicBezTo>
                    <a:pt x="18" y="11128"/>
                    <a:pt x="18" y="11579"/>
                    <a:pt x="34" y="11914"/>
                  </a:cubicBezTo>
                  <a:cubicBezTo>
                    <a:pt x="18" y="12064"/>
                    <a:pt x="34" y="12231"/>
                    <a:pt x="51" y="12398"/>
                  </a:cubicBezTo>
                  <a:cubicBezTo>
                    <a:pt x="68" y="12231"/>
                    <a:pt x="84" y="12064"/>
                    <a:pt x="84" y="11914"/>
                  </a:cubicBezTo>
                  <a:cubicBezTo>
                    <a:pt x="84" y="11563"/>
                    <a:pt x="101" y="11128"/>
                    <a:pt x="101" y="10577"/>
                  </a:cubicBezTo>
                  <a:cubicBezTo>
                    <a:pt x="118" y="9457"/>
                    <a:pt x="135" y="7903"/>
                    <a:pt x="135" y="6199"/>
                  </a:cubicBezTo>
                  <a:cubicBezTo>
                    <a:pt x="151" y="4495"/>
                    <a:pt x="151" y="2941"/>
                    <a:pt x="135" y="1822"/>
                  </a:cubicBezTo>
                  <a:cubicBezTo>
                    <a:pt x="118" y="1270"/>
                    <a:pt x="118" y="836"/>
                    <a:pt x="118" y="502"/>
                  </a:cubicBezTo>
                  <a:cubicBezTo>
                    <a:pt x="118" y="335"/>
                    <a:pt x="101" y="167"/>
                    <a:pt x="8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8" name="Google Shape;1708;p40"/>
            <p:cNvSpPr/>
            <p:nvPr/>
          </p:nvSpPr>
          <p:spPr>
            <a:xfrm>
              <a:off x="8137665" y="3029460"/>
              <a:ext cx="152192" cy="105117"/>
            </a:xfrm>
            <a:custGeom>
              <a:avLst/>
              <a:gdLst/>
              <a:ahLst/>
              <a:cxnLst/>
              <a:rect l="l" t="t" r="r" b="b"/>
              <a:pathLst>
                <a:path w="4746" h="3278" extrusionOk="0">
                  <a:moveTo>
                    <a:pt x="17" y="1"/>
                  </a:moveTo>
                  <a:cubicBezTo>
                    <a:pt x="1" y="84"/>
                    <a:pt x="1" y="185"/>
                    <a:pt x="17" y="268"/>
                  </a:cubicBezTo>
                  <a:cubicBezTo>
                    <a:pt x="34" y="502"/>
                    <a:pt x="84" y="736"/>
                    <a:pt x="168" y="953"/>
                  </a:cubicBezTo>
                  <a:cubicBezTo>
                    <a:pt x="619" y="2352"/>
                    <a:pt x="1923" y="3277"/>
                    <a:pt x="3361" y="3277"/>
                  </a:cubicBezTo>
                  <a:cubicBezTo>
                    <a:pt x="3521" y="3277"/>
                    <a:pt x="3682" y="3266"/>
                    <a:pt x="3844" y="3242"/>
                  </a:cubicBezTo>
                  <a:cubicBezTo>
                    <a:pt x="4078" y="3209"/>
                    <a:pt x="4295" y="3159"/>
                    <a:pt x="4512" y="3075"/>
                  </a:cubicBezTo>
                  <a:cubicBezTo>
                    <a:pt x="4596" y="3042"/>
                    <a:pt x="4679" y="3008"/>
                    <a:pt x="4746" y="2958"/>
                  </a:cubicBezTo>
                  <a:lnTo>
                    <a:pt x="4746" y="2958"/>
                  </a:lnTo>
                  <a:cubicBezTo>
                    <a:pt x="4445" y="3042"/>
                    <a:pt x="4144" y="3109"/>
                    <a:pt x="3827" y="3142"/>
                  </a:cubicBezTo>
                  <a:cubicBezTo>
                    <a:pt x="3704" y="3155"/>
                    <a:pt x="3581" y="3162"/>
                    <a:pt x="3460" y="3162"/>
                  </a:cubicBezTo>
                  <a:cubicBezTo>
                    <a:pt x="2031" y="3162"/>
                    <a:pt x="744" y="2275"/>
                    <a:pt x="251" y="920"/>
                  </a:cubicBezTo>
                  <a:cubicBezTo>
                    <a:pt x="151" y="619"/>
                    <a:pt x="68" y="318"/>
                    <a:pt x="1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9" name="Google Shape;1709;p40"/>
            <p:cNvSpPr/>
            <p:nvPr/>
          </p:nvSpPr>
          <p:spPr>
            <a:xfrm>
              <a:off x="7980149" y="3032154"/>
              <a:ext cx="36461" cy="195932"/>
            </a:xfrm>
            <a:custGeom>
              <a:avLst/>
              <a:gdLst/>
              <a:ahLst/>
              <a:cxnLst/>
              <a:rect l="l" t="t" r="r" b="b"/>
              <a:pathLst>
                <a:path w="1137" h="6110" extrusionOk="0">
                  <a:moveTo>
                    <a:pt x="117" y="0"/>
                  </a:moveTo>
                  <a:cubicBezTo>
                    <a:pt x="84" y="84"/>
                    <a:pt x="84" y="168"/>
                    <a:pt x="84" y="251"/>
                  </a:cubicBezTo>
                  <a:cubicBezTo>
                    <a:pt x="67" y="435"/>
                    <a:pt x="67" y="669"/>
                    <a:pt x="50" y="970"/>
                  </a:cubicBezTo>
                  <a:cubicBezTo>
                    <a:pt x="34" y="1588"/>
                    <a:pt x="34" y="2423"/>
                    <a:pt x="17" y="3342"/>
                  </a:cubicBezTo>
                  <a:cubicBezTo>
                    <a:pt x="17" y="3810"/>
                    <a:pt x="17" y="4244"/>
                    <a:pt x="17" y="4645"/>
                  </a:cubicBezTo>
                  <a:cubicBezTo>
                    <a:pt x="0" y="5013"/>
                    <a:pt x="84" y="5381"/>
                    <a:pt x="268" y="5698"/>
                  </a:cubicBezTo>
                  <a:cubicBezTo>
                    <a:pt x="401" y="5915"/>
                    <a:pt x="619" y="6066"/>
                    <a:pt x="869" y="6099"/>
                  </a:cubicBezTo>
                  <a:cubicBezTo>
                    <a:pt x="900" y="6105"/>
                    <a:pt x="933" y="6109"/>
                    <a:pt x="966" y="6109"/>
                  </a:cubicBezTo>
                  <a:cubicBezTo>
                    <a:pt x="1024" y="6109"/>
                    <a:pt x="1084" y="6097"/>
                    <a:pt x="1137" y="6066"/>
                  </a:cubicBezTo>
                  <a:cubicBezTo>
                    <a:pt x="1053" y="6066"/>
                    <a:pt x="969" y="6066"/>
                    <a:pt x="886" y="6049"/>
                  </a:cubicBezTo>
                  <a:cubicBezTo>
                    <a:pt x="652" y="5982"/>
                    <a:pt x="468" y="5848"/>
                    <a:pt x="351" y="5648"/>
                  </a:cubicBezTo>
                  <a:cubicBezTo>
                    <a:pt x="184" y="5330"/>
                    <a:pt x="117" y="4996"/>
                    <a:pt x="151" y="4645"/>
                  </a:cubicBezTo>
                  <a:cubicBezTo>
                    <a:pt x="151" y="4244"/>
                    <a:pt x="151" y="3810"/>
                    <a:pt x="167" y="3342"/>
                  </a:cubicBezTo>
                  <a:cubicBezTo>
                    <a:pt x="167" y="2423"/>
                    <a:pt x="167" y="1588"/>
                    <a:pt x="151" y="970"/>
                  </a:cubicBezTo>
                  <a:cubicBezTo>
                    <a:pt x="151" y="669"/>
                    <a:pt x="151" y="435"/>
                    <a:pt x="134" y="251"/>
                  </a:cubicBezTo>
                  <a:cubicBezTo>
                    <a:pt x="134" y="168"/>
                    <a:pt x="134" y="84"/>
                    <a:pt x="11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0" name="Google Shape;1710;p40"/>
            <p:cNvSpPr/>
            <p:nvPr/>
          </p:nvSpPr>
          <p:spPr>
            <a:xfrm>
              <a:off x="7789412" y="3038054"/>
              <a:ext cx="124871" cy="94727"/>
            </a:xfrm>
            <a:custGeom>
              <a:avLst/>
              <a:gdLst/>
              <a:ahLst/>
              <a:cxnLst/>
              <a:rect l="l" t="t" r="r" b="b"/>
              <a:pathLst>
                <a:path w="3894" h="2954" extrusionOk="0">
                  <a:moveTo>
                    <a:pt x="3893" y="0"/>
                  </a:moveTo>
                  <a:cubicBezTo>
                    <a:pt x="3876" y="0"/>
                    <a:pt x="3760" y="268"/>
                    <a:pt x="3526" y="652"/>
                  </a:cubicBezTo>
                  <a:cubicBezTo>
                    <a:pt x="2874" y="1671"/>
                    <a:pt x="1888" y="2423"/>
                    <a:pt x="735" y="2757"/>
                  </a:cubicBezTo>
                  <a:cubicBezTo>
                    <a:pt x="284" y="2891"/>
                    <a:pt x="0" y="2908"/>
                    <a:pt x="0" y="2941"/>
                  </a:cubicBezTo>
                  <a:cubicBezTo>
                    <a:pt x="34" y="2949"/>
                    <a:pt x="67" y="2953"/>
                    <a:pt x="100" y="2953"/>
                  </a:cubicBezTo>
                  <a:cubicBezTo>
                    <a:pt x="134" y="2953"/>
                    <a:pt x="167" y="2949"/>
                    <a:pt x="201" y="2941"/>
                  </a:cubicBezTo>
                  <a:cubicBezTo>
                    <a:pt x="384" y="2924"/>
                    <a:pt x="568" y="2891"/>
                    <a:pt x="752" y="2857"/>
                  </a:cubicBezTo>
                  <a:cubicBezTo>
                    <a:pt x="1955" y="2557"/>
                    <a:pt x="2991" y="1788"/>
                    <a:pt x="3609" y="702"/>
                  </a:cubicBezTo>
                  <a:cubicBezTo>
                    <a:pt x="3709" y="552"/>
                    <a:pt x="3776" y="385"/>
                    <a:pt x="3843" y="201"/>
                  </a:cubicBezTo>
                  <a:cubicBezTo>
                    <a:pt x="3876" y="134"/>
                    <a:pt x="3893" y="67"/>
                    <a:pt x="3893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1" name="Google Shape;1711;p40"/>
            <p:cNvSpPr/>
            <p:nvPr/>
          </p:nvSpPr>
          <p:spPr>
            <a:xfrm>
              <a:off x="7668838" y="2169506"/>
              <a:ext cx="735693" cy="846614"/>
            </a:xfrm>
            <a:custGeom>
              <a:avLst/>
              <a:gdLst/>
              <a:ahLst/>
              <a:cxnLst/>
              <a:rect l="l" t="t" r="r" b="b"/>
              <a:pathLst>
                <a:path w="22942" h="26401" extrusionOk="0">
                  <a:moveTo>
                    <a:pt x="10828" y="201"/>
                  </a:moveTo>
                  <a:cubicBezTo>
                    <a:pt x="10026" y="301"/>
                    <a:pt x="8789" y="1"/>
                    <a:pt x="6032" y="1421"/>
                  </a:cubicBezTo>
                  <a:cubicBezTo>
                    <a:pt x="4880" y="2006"/>
                    <a:pt x="3927" y="2925"/>
                    <a:pt x="3292" y="4061"/>
                  </a:cubicBezTo>
                  <a:lnTo>
                    <a:pt x="1" y="9942"/>
                  </a:lnTo>
                  <a:lnTo>
                    <a:pt x="4612" y="12833"/>
                  </a:lnTo>
                  <a:lnTo>
                    <a:pt x="5832" y="9274"/>
                  </a:lnTo>
                  <a:lnTo>
                    <a:pt x="4946" y="17261"/>
                  </a:lnTo>
                  <a:lnTo>
                    <a:pt x="3543" y="26400"/>
                  </a:lnTo>
                  <a:lnTo>
                    <a:pt x="20168" y="26400"/>
                  </a:lnTo>
                  <a:lnTo>
                    <a:pt x="19951" y="15874"/>
                  </a:lnTo>
                  <a:lnTo>
                    <a:pt x="19951" y="15874"/>
                  </a:lnTo>
                  <a:cubicBezTo>
                    <a:pt x="19952" y="15894"/>
                    <a:pt x="19952" y="15903"/>
                    <a:pt x="19953" y="15903"/>
                  </a:cubicBezTo>
                  <a:cubicBezTo>
                    <a:pt x="19964" y="15903"/>
                    <a:pt x="19934" y="12766"/>
                    <a:pt x="19934" y="12766"/>
                  </a:cubicBezTo>
                  <a:lnTo>
                    <a:pt x="22942" y="4545"/>
                  </a:lnTo>
                  <a:cubicBezTo>
                    <a:pt x="22206" y="3125"/>
                    <a:pt x="21688" y="2306"/>
                    <a:pt x="20335" y="1471"/>
                  </a:cubicBezTo>
                  <a:cubicBezTo>
                    <a:pt x="19416" y="903"/>
                    <a:pt x="18013" y="251"/>
                    <a:pt x="16509" y="201"/>
                  </a:cubicBezTo>
                  <a:cubicBezTo>
                    <a:pt x="15581" y="494"/>
                    <a:pt x="14625" y="640"/>
                    <a:pt x="13668" y="640"/>
                  </a:cubicBezTo>
                  <a:cubicBezTo>
                    <a:pt x="12712" y="640"/>
                    <a:pt x="11755" y="494"/>
                    <a:pt x="10828" y="20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2" name="Google Shape;1712;p40"/>
            <p:cNvSpPr/>
            <p:nvPr/>
          </p:nvSpPr>
          <p:spPr>
            <a:xfrm>
              <a:off x="7902450" y="2505958"/>
              <a:ext cx="269014" cy="146516"/>
            </a:xfrm>
            <a:custGeom>
              <a:avLst/>
              <a:gdLst/>
              <a:ahLst/>
              <a:cxnLst/>
              <a:rect l="l" t="t" r="r" b="b"/>
              <a:pathLst>
                <a:path w="8389" h="4569" extrusionOk="0">
                  <a:moveTo>
                    <a:pt x="3511" y="157"/>
                  </a:moveTo>
                  <a:cubicBezTo>
                    <a:pt x="3638" y="157"/>
                    <a:pt x="3767" y="177"/>
                    <a:pt x="3894" y="219"/>
                  </a:cubicBezTo>
                  <a:cubicBezTo>
                    <a:pt x="4144" y="286"/>
                    <a:pt x="4345" y="453"/>
                    <a:pt x="4479" y="687"/>
                  </a:cubicBezTo>
                  <a:cubicBezTo>
                    <a:pt x="4579" y="921"/>
                    <a:pt x="4612" y="1188"/>
                    <a:pt x="4545" y="1422"/>
                  </a:cubicBezTo>
                  <a:cubicBezTo>
                    <a:pt x="4395" y="1890"/>
                    <a:pt x="4078" y="2274"/>
                    <a:pt x="3643" y="2508"/>
                  </a:cubicBezTo>
                  <a:cubicBezTo>
                    <a:pt x="3353" y="2687"/>
                    <a:pt x="3030" y="2821"/>
                    <a:pt x="2691" y="2909"/>
                  </a:cubicBezTo>
                  <a:lnTo>
                    <a:pt x="2691" y="2909"/>
                  </a:lnTo>
                  <a:cubicBezTo>
                    <a:pt x="2576" y="2752"/>
                    <a:pt x="2475" y="2584"/>
                    <a:pt x="2390" y="2408"/>
                  </a:cubicBezTo>
                  <a:cubicBezTo>
                    <a:pt x="2156" y="1890"/>
                    <a:pt x="2189" y="1272"/>
                    <a:pt x="2457" y="770"/>
                  </a:cubicBezTo>
                  <a:cubicBezTo>
                    <a:pt x="2676" y="384"/>
                    <a:pt x="3083" y="157"/>
                    <a:pt x="3511" y="157"/>
                  </a:cubicBezTo>
                  <a:close/>
                  <a:moveTo>
                    <a:pt x="3514" y="0"/>
                  </a:moveTo>
                  <a:cubicBezTo>
                    <a:pt x="3032" y="0"/>
                    <a:pt x="2572" y="253"/>
                    <a:pt x="2340" y="703"/>
                  </a:cubicBezTo>
                  <a:cubicBezTo>
                    <a:pt x="2022" y="1238"/>
                    <a:pt x="2006" y="1890"/>
                    <a:pt x="2256" y="2458"/>
                  </a:cubicBezTo>
                  <a:cubicBezTo>
                    <a:pt x="2334" y="2630"/>
                    <a:pt x="2427" y="2793"/>
                    <a:pt x="2533" y="2947"/>
                  </a:cubicBezTo>
                  <a:lnTo>
                    <a:pt x="2533" y="2947"/>
                  </a:lnTo>
                  <a:cubicBezTo>
                    <a:pt x="2513" y="2951"/>
                    <a:pt x="2493" y="2955"/>
                    <a:pt x="2473" y="2959"/>
                  </a:cubicBezTo>
                  <a:cubicBezTo>
                    <a:pt x="2247" y="2996"/>
                    <a:pt x="2018" y="3015"/>
                    <a:pt x="1790" y="3015"/>
                  </a:cubicBezTo>
                  <a:cubicBezTo>
                    <a:pt x="1396" y="3015"/>
                    <a:pt x="1006" y="2959"/>
                    <a:pt x="636" y="2842"/>
                  </a:cubicBezTo>
                  <a:cubicBezTo>
                    <a:pt x="242" y="2716"/>
                    <a:pt x="26" y="2590"/>
                    <a:pt x="3" y="2590"/>
                  </a:cubicBezTo>
                  <a:cubicBezTo>
                    <a:pt x="1" y="2590"/>
                    <a:pt x="1" y="2591"/>
                    <a:pt x="1" y="2591"/>
                  </a:cubicBezTo>
                  <a:cubicBezTo>
                    <a:pt x="51" y="2625"/>
                    <a:pt x="101" y="2658"/>
                    <a:pt x="151" y="2692"/>
                  </a:cubicBezTo>
                  <a:cubicBezTo>
                    <a:pt x="301" y="2775"/>
                    <a:pt x="452" y="2842"/>
                    <a:pt x="619" y="2892"/>
                  </a:cubicBezTo>
                  <a:cubicBezTo>
                    <a:pt x="1023" y="3038"/>
                    <a:pt x="1443" y="3109"/>
                    <a:pt x="1868" y="3109"/>
                  </a:cubicBezTo>
                  <a:cubicBezTo>
                    <a:pt x="2074" y="3109"/>
                    <a:pt x="2282" y="3092"/>
                    <a:pt x="2490" y="3059"/>
                  </a:cubicBezTo>
                  <a:cubicBezTo>
                    <a:pt x="2527" y="3054"/>
                    <a:pt x="2564" y="3047"/>
                    <a:pt x="2601" y="3040"/>
                  </a:cubicBezTo>
                  <a:lnTo>
                    <a:pt x="2601" y="3040"/>
                  </a:lnTo>
                  <a:cubicBezTo>
                    <a:pt x="2802" y="3309"/>
                    <a:pt x="3046" y="3544"/>
                    <a:pt x="3326" y="3744"/>
                  </a:cubicBezTo>
                  <a:cubicBezTo>
                    <a:pt x="4097" y="4288"/>
                    <a:pt x="5014" y="4569"/>
                    <a:pt x="5936" y="4569"/>
                  </a:cubicBezTo>
                  <a:cubicBezTo>
                    <a:pt x="6572" y="4569"/>
                    <a:pt x="7210" y="4435"/>
                    <a:pt x="7804" y="4162"/>
                  </a:cubicBezTo>
                  <a:cubicBezTo>
                    <a:pt x="7954" y="4095"/>
                    <a:pt x="8104" y="3995"/>
                    <a:pt x="8255" y="3911"/>
                  </a:cubicBezTo>
                  <a:cubicBezTo>
                    <a:pt x="8305" y="3878"/>
                    <a:pt x="8355" y="3845"/>
                    <a:pt x="8388" y="3794"/>
                  </a:cubicBezTo>
                  <a:cubicBezTo>
                    <a:pt x="8388" y="3794"/>
                    <a:pt x="8388" y="3793"/>
                    <a:pt x="8387" y="3793"/>
                  </a:cubicBezTo>
                  <a:cubicBezTo>
                    <a:pt x="8367" y="3793"/>
                    <a:pt x="8167" y="3938"/>
                    <a:pt x="7787" y="4112"/>
                  </a:cubicBezTo>
                  <a:cubicBezTo>
                    <a:pt x="7202" y="4346"/>
                    <a:pt x="6584" y="4463"/>
                    <a:pt x="5966" y="4463"/>
                  </a:cubicBezTo>
                  <a:cubicBezTo>
                    <a:pt x="5047" y="4463"/>
                    <a:pt x="4161" y="4162"/>
                    <a:pt x="3409" y="3627"/>
                  </a:cubicBezTo>
                  <a:cubicBezTo>
                    <a:pt x="3166" y="3450"/>
                    <a:pt x="2949" y="3240"/>
                    <a:pt x="2764" y="3006"/>
                  </a:cubicBezTo>
                  <a:lnTo>
                    <a:pt x="2764" y="3006"/>
                  </a:lnTo>
                  <a:cubicBezTo>
                    <a:pt x="3099" y="2925"/>
                    <a:pt x="3420" y="2793"/>
                    <a:pt x="3710" y="2608"/>
                  </a:cubicBezTo>
                  <a:cubicBezTo>
                    <a:pt x="4178" y="2374"/>
                    <a:pt x="4529" y="1957"/>
                    <a:pt x="4679" y="1455"/>
                  </a:cubicBezTo>
                  <a:cubicBezTo>
                    <a:pt x="4746" y="1188"/>
                    <a:pt x="4729" y="887"/>
                    <a:pt x="4612" y="637"/>
                  </a:cubicBezTo>
                  <a:cubicBezTo>
                    <a:pt x="4462" y="353"/>
                    <a:pt x="4228" y="152"/>
                    <a:pt x="3944" y="68"/>
                  </a:cubicBezTo>
                  <a:cubicBezTo>
                    <a:pt x="3802" y="23"/>
                    <a:pt x="3657" y="0"/>
                    <a:pt x="351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3" name="Google Shape;1713;p40"/>
            <p:cNvSpPr/>
            <p:nvPr/>
          </p:nvSpPr>
          <p:spPr>
            <a:xfrm>
              <a:off x="7807626" y="2785491"/>
              <a:ext cx="506891" cy="173966"/>
            </a:xfrm>
            <a:custGeom>
              <a:avLst/>
              <a:gdLst/>
              <a:ahLst/>
              <a:cxnLst/>
              <a:rect l="l" t="t" r="r" b="b"/>
              <a:pathLst>
                <a:path w="15807" h="5425" extrusionOk="0">
                  <a:moveTo>
                    <a:pt x="10557" y="145"/>
                  </a:moveTo>
                  <a:cubicBezTo>
                    <a:pt x="10701" y="145"/>
                    <a:pt x="10845" y="189"/>
                    <a:pt x="10961" y="274"/>
                  </a:cubicBezTo>
                  <a:cubicBezTo>
                    <a:pt x="11162" y="408"/>
                    <a:pt x="11295" y="608"/>
                    <a:pt x="11362" y="842"/>
                  </a:cubicBezTo>
                  <a:cubicBezTo>
                    <a:pt x="11512" y="1343"/>
                    <a:pt x="11512" y="1861"/>
                    <a:pt x="11345" y="2362"/>
                  </a:cubicBezTo>
                  <a:cubicBezTo>
                    <a:pt x="11260" y="2657"/>
                    <a:pt x="11142" y="2941"/>
                    <a:pt x="10991" y="3208"/>
                  </a:cubicBezTo>
                  <a:lnTo>
                    <a:pt x="10991" y="3208"/>
                  </a:lnTo>
                  <a:cubicBezTo>
                    <a:pt x="10695" y="2982"/>
                    <a:pt x="10428" y="2712"/>
                    <a:pt x="10176" y="2413"/>
                  </a:cubicBezTo>
                  <a:cubicBezTo>
                    <a:pt x="9892" y="2095"/>
                    <a:pt x="9725" y="1694"/>
                    <a:pt x="9674" y="1260"/>
                  </a:cubicBezTo>
                  <a:cubicBezTo>
                    <a:pt x="9641" y="792"/>
                    <a:pt x="9892" y="374"/>
                    <a:pt x="10309" y="190"/>
                  </a:cubicBezTo>
                  <a:cubicBezTo>
                    <a:pt x="10389" y="160"/>
                    <a:pt x="10473" y="145"/>
                    <a:pt x="10557" y="145"/>
                  </a:cubicBezTo>
                  <a:close/>
                  <a:moveTo>
                    <a:pt x="4312" y="798"/>
                  </a:moveTo>
                  <a:cubicBezTo>
                    <a:pt x="4422" y="798"/>
                    <a:pt x="4534" y="819"/>
                    <a:pt x="4645" y="859"/>
                  </a:cubicBezTo>
                  <a:cubicBezTo>
                    <a:pt x="5063" y="1026"/>
                    <a:pt x="5380" y="1393"/>
                    <a:pt x="5464" y="1844"/>
                  </a:cubicBezTo>
                  <a:cubicBezTo>
                    <a:pt x="5547" y="2279"/>
                    <a:pt x="5497" y="2713"/>
                    <a:pt x="5347" y="3114"/>
                  </a:cubicBezTo>
                  <a:cubicBezTo>
                    <a:pt x="5197" y="3499"/>
                    <a:pt x="4979" y="3833"/>
                    <a:pt x="4695" y="4117"/>
                  </a:cubicBezTo>
                  <a:cubicBezTo>
                    <a:pt x="4672" y="4141"/>
                    <a:pt x="4648" y="4165"/>
                    <a:pt x="4624" y="4188"/>
                  </a:cubicBezTo>
                  <a:lnTo>
                    <a:pt x="4624" y="4188"/>
                  </a:lnTo>
                  <a:cubicBezTo>
                    <a:pt x="4575" y="4149"/>
                    <a:pt x="4526" y="4108"/>
                    <a:pt x="4478" y="4067"/>
                  </a:cubicBezTo>
                  <a:cubicBezTo>
                    <a:pt x="4060" y="3733"/>
                    <a:pt x="3709" y="3298"/>
                    <a:pt x="3476" y="2814"/>
                  </a:cubicBezTo>
                  <a:cubicBezTo>
                    <a:pt x="3225" y="2362"/>
                    <a:pt x="3225" y="1811"/>
                    <a:pt x="3459" y="1360"/>
                  </a:cubicBezTo>
                  <a:cubicBezTo>
                    <a:pt x="3559" y="1143"/>
                    <a:pt x="3743" y="976"/>
                    <a:pt x="3960" y="875"/>
                  </a:cubicBezTo>
                  <a:cubicBezTo>
                    <a:pt x="4074" y="823"/>
                    <a:pt x="4192" y="798"/>
                    <a:pt x="4312" y="798"/>
                  </a:cubicBezTo>
                  <a:close/>
                  <a:moveTo>
                    <a:pt x="10568" y="0"/>
                  </a:moveTo>
                  <a:cubicBezTo>
                    <a:pt x="10469" y="0"/>
                    <a:pt x="10370" y="19"/>
                    <a:pt x="10276" y="57"/>
                  </a:cubicBezTo>
                  <a:cubicBezTo>
                    <a:pt x="9791" y="257"/>
                    <a:pt x="9507" y="742"/>
                    <a:pt x="9541" y="1260"/>
                  </a:cubicBezTo>
                  <a:cubicBezTo>
                    <a:pt x="9591" y="1711"/>
                    <a:pt x="9791" y="2145"/>
                    <a:pt x="10092" y="2479"/>
                  </a:cubicBezTo>
                  <a:cubicBezTo>
                    <a:pt x="10348" y="2799"/>
                    <a:pt x="10635" y="3073"/>
                    <a:pt x="10937" y="3301"/>
                  </a:cubicBezTo>
                  <a:lnTo>
                    <a:pt x="10937" y="3301"/>
                  </a:lnTo>
                  <a:cubicBezTo>
                    <a:pt x="10836" y="3469"/>
                    <a:pt x="10721" y="3630"/>
                    <a:pt x="10593" y="3783"/>
                  </a:cubicBezTo>
                  <a:cubicBezTo>
                    <a:pt x="9858" y="4668"/>
                    <a:pt x="8772" y="5186"/>
                    <a:pt x="7619" y="5220"/>
                  </a:cubicBezTo>
                  <a:cubicBezTo>
                    <a:pt x="7597" y="5220"/>
                    <a:pt x="7575" y="5220"/>
                    <a:pt x="7553" y="5220"/>
                  </a:cubicBezTo>
                  <a:cubicBezTo>
                    <a:pt x="6526" y="5220"/>
                    <a:pt x="5529" y="4876"/>
                    <a:pt x="4716" y="4260"/>
                  </a:cubicBezTo>
                  <a:lnTo>
                    <a:pt x="4716" y="4260"/>
                  </a:lnTo>
                  <a:cubicBezTo>
                    <a:pt x="4737" y="4240"/>
                    <a:pt x="4758" y="4220"/>
                    <a:pt x="4779" y="4200"/>
                  </a:cubicBezTo>
                  <a:cubicBezTo>
                    <a:pt x="5063" y="3900"/>
                    <a:pt x="5297" y="3549"/>
                    <a:pt x="5447" y="3164"/>
                  </a:cubicBezTo>
                  <a:cubicBezTo>
                    <a:pt x="5631" y="2730"/>
                    <a:pt x="5664" y="2279"/>
                    <a:pt x="5581" y="1828"/>
                  </a:cubicBezTo>
                  <a:cubicBezTo>
                    <a:pt x="5497" y="1326"/>
                    <a:pt x="5163" y="909"/>
                    <a:pt x="4679" y="725"/>
                  </a:cubicBezTo>
                  <a:cubicBezTo>
                    <a:pt x="4559" y="685"/>
                    <a:pt x="4436" y="664"/>
                    <a:pt x="4312" y="664"/>
                  </a:cubicBezTo>
                  <a:cubicBezTo>
                    <a:pt x="4177" y="664"/>
                    <a:pt x="4041" y="689"/>
                    <a:pt x="3910" y="742"/>
                  </a:cubicBezTo>
                  <a:cubicBezTo>
                    <a:pt x="3659" y="859"/>
                    <a:pt x="3459" y="1059"/>
                    <a:pt x="3325" y="1293"/>
                  </a:cubicBezTo>
                  <a:cubicBezTo>
                    <a:pt x="3192" y="1527"/>
                    <a:pt x="3125" y="1794"/>
                    <a:pt x="3141" y="2078"/>
                  </a:cubicBezTo>
                  <a:cubicBezTo>
                    <a:pt x="3141" y="2362"/>
                    <a:pt x="3225" y="2630"/>
                    <a:pt x="3342" y="2880"/>
                  </a:cubicBezTo>
                  <a:cubicBezTo>
                    <a:pt x="3593" y="3382"/>
                    <a:pt x="3943" y="3816"/>
                    <a:pt x="4378" y="4184"/>
                  </a:cubicBezTo>
                  <a:cubicBezTo>
                    <a:pt x="4422" y="4221"/>
                    <a:pt x="4467" y="4258"/>
                    <a:pt x="4512" y="4294"/>
                  </a:cubicBezTo>
                  <a:lnTo>
                    <a:pt x="4512" y="4294"/>
                  </a:lnTo>
                  <a:cubicBezTo>
                    <a:pt x="4059" y="4701"/>
                    <a:pt x="3511" y="4989"/>
                    <a:pt x="2924" y="5136"/>
                  </a:cubicBezTo>
                  <a:cubicBezTo>
                    <a:pt x="2406" y="5286"/>
                    <a:pt x="1888" y="5353"/>
                    <a:pt x="1354" y="5370"/>
                  </a:cubicBezTo>
                  <a:cubicBezTo>
                    <a:pt x="1209" y="5376"/>
                    <a:pt x="1075" y="5377"/>
                    <a:pt x="953" y="5377"/>
                  </a:cubicBezTo>
                  <a:cubicBezTo>
                    <a:pt x="708" y="5377"/>
                    <a:pt x="507" y="5370"/>
                    <a:pt x="351" y="5370"/>
                  </a:cubicBezTo>
                  <a:lnTo>
                    <a:pt x="100" y="5353"/>
                  </a:lnTo>
                  <a:lnTo>
                    <a:pt x="0" y="5353"/>
                  </a:lnTo>
                  <a:cubicBezTo>
                    <a:pt x="34" y="5370"/>
                    <a:pt x="67" y="5370"/>
                    <a:pt x="100" y="5370"/>
                  </a:cubicBezTo>
                  <a:lnTo>
                    <a:pt x="351" y="5387"/>
                  </a:lnTo>
                  <a:cubicBezTo>
                    <a:pt x="540" y="5400"/>
                    <a:pt x="795" y="5425"/>
                    <a:pt x="1116" y="5425"/>
                  </a:cubicBezTo>
                  <a:cubicBezTo>
                    <a:pt x="1191" y="5425"/>
                    <a:pt x="1271" y="5423"/>
                    <a:pt x="1354" y="5420"/>
                  </a:cubicBezTo>
                  <a:cubicBezTo>
                    <a:pt x="1888" y="5420"/>
                    <a:pt x="2423" y="5353"/>
                    <a:pt x="2941" y="5220"/>
                  </a:cubicBezTo>
                  <a:cubicBezTo>
                    <a:pt x="3549" y="5071"/>
                    <a:pt x="4118" y="4778"/>
                    <a:pt x="4601" y="4363"/>
                  </a:cubicBezTo>
                  <a:lnTo>
                    <a:pt x="4601" y="4363"/>
                  </a:lnTo>
                  <a:cubicBezTo>
                    <a:pt x="5449" y="5006"/>
                    <a:pt x="6486" y="5370"/>
                    <a:pt x="7553" y="5370"/>
                  </a:cubicBezTo>
                  <a:cubicBezTo>
                    <a:pt x="7575" y="5370"/>
                    <a:pt x="7597" y="5370"/>
                    <a:pt x="7619" y="5370"/>
                  </a:cubicBezTo>
                  <a:cubicBezTo>
                    <a:pt x="9071" y="5360"/>
                    <a:pt x="10355" y="4510"/>
                    <a:pt x="11050" y="3384"/>
                  </a:cubicBezTo>
                  <a:lnTo>
                    <a:pt x="11050" y="3384"/>
                  </a:lnTo>
                  <a:cubicBezTo>
                    <a:pt x="11995" y="4059"/>
                    <a:pt x="13105" y="4422"/>
                    <a:pt x="14252" y="4422"/>
                  </a:cubicBezTo>
                  <a:cubicBezTo>
                    <a:pt x="14325" y="4422"/>
                    <a:pt x="14397" y="4420"/>
                    <a:pt x="14470" y="4418"/>
                  </a:cubicBezTo>
                  <a:cubicBezTo>
                    <a:pt x="14804" y="4418"/>
                    <a:pt x="15138" y="4367"/>
                    <a:pt x="15472" y="4284"/>
                  </a:cubicBezTo>
                  <a:cubicBezTo>
                    <a:pt x="15573" y="4267"/>
                    <a:pt x="15656" y="4234"/>
                    <a:pt x="15723" y="4217"/>
                  </a:cubicBezTo>
                  <a:cubicBezTo>
                    <a:pt x="15756" y="4217"/>
                    <a:pt x="15773" y="4200"/>
                    <a:pt x="15807" y="4184"/>
                  </a:cubicBezTo>
                  <a:lnTo>
                    <a:pt x="15807" y="4184"/>
                  </a:lnTo>
                  <a:cubicBezTo>
                    <a:pt x="15372" y="4301"/>
                    <a:pt x="14921" y="4351"/>
                    <a:pt x="14470" y="4367"/>
                  </a:cubicBezTo>
                  <a:cubicBezTo>
                    <a:pt x="14424" y="4369"/>
                    <a:pt x="14379" y="4370"/>
                    <a:pt x="14334" y="4370"/>
                  </a:cubicBezTo>
                  <a:cubicBezTo>
                    <a:pt x="13847" y="4370"/>
                    <a:pt x="13375" y="4289"/>
                    <a:pt x="12916" y="4167"/>
                  </a:cubicBezTo>
                  <a:cubicBezTo>
                    <a:pt x="12255" y="3990"/>
                    <a:pt x="11656" y="3703"/>
                    <a:pt x="11105" y="3293"/>
                  </a:cubicBezTo>
                  <a:lnTo>
                    <a:pt x="11105" y="3293"/>
                  </a:lnTo>
                  <a:cubicBezTo>
                    <a:pt x="11554" y="2521"/>
                    <a:pt x="11728" y="1629"/>
                    <a:pt x="11496" y="792"/>
                  </a:cubicBezTo>
                  <a:cubicBezTo>
                    <a:pt x="11412" y="541"/>
                    <a:pt x="11262" y="307"/>
                    <a:pt x="11045" y="157"/>
                  </a:cubicBezTo>
                  <a:cubicBezTo>
                    <a:pt x="10898" y="52"/>
                    <a:pt x="10733" y="0"/>
                    <a:pt x="105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4" name="Google Shape;1714;p40"/>
            <p:cNvSpPr/>
            <p:nvPr/>
          </p:nvSpPr>
          <p:spPr>
            <a:xfrm>
              <a:off x="7750290" y="2283346"/>
              <a:ext cx="447438" cy="157323"/>
            </a:xfrm>
            <a:custGeom>
              <a:avLst/>
              <a:gdLst/>
              <a:ahLst/>
              <a:cxnLst/>
              <a:rect l="l" t="t" r="r" b="b"/>
              <a:pathLst>
                <a:path w="13953" h="4906" extrusionOk="0">
                  <a:moveTo>
                    <a:pt x="6905" y="145"/>
                  </a:moveTo>
                  <a:cubicBezTo>
                    <a:pt x="7275" y="145"/>
                    <a:pt x="7634" y="299"/>
                    <a:pt x="7887" y="578"/>
                  </a:cubicBezTo>
                  <a:cubicBezTo>
                    <a:pt x="8037" y="745"/>
                    <a:pt x="8104" y="979"/>
                    <a:pt x="8087" y="1213"/>
                  </a:cubicBezTo>
                  <a:cubicBezTo>
                    <a:pt x="8054" y="1430"/>
                    <a:pt x="7970" y="1647"/>
                    <a:pt x="7837" y="1831"/>
                  </a:cubicBezTo>
                  <a:cubicBezTo>
                    <a:pt x="7569" y="2198"/>
                    <a:pt x="7218" y="2482"/>
                    <a:pt x="6801" y="2666"/>
                  </a:cubicBezTo>
                  <a:cubicBezTo>
                    <a:pt x="6553" y="2785"/>
                    <a:pt x="6297" y="2886"/>
                    <a:pt x="6036" y="2969"/>
                  </a:cubicBezTo>
                  <a:lnTo>
                    <a:pt x="6036" y="2969"/>
                  </a:lnTo>
                  <a:cubicBezTo>
                    <a:pt x="5982" y="2903"/>
                    <a:pt x="5931" y="2836"/>
                    <a:pt x="5882" y="2767"/>
                  </a:cubicBezTo>
                  <a:cubicBezTo>
                    <a:pt x="5581" y="2315"/>
                    <a:pt x="5481" y="1764"/>
                    <a:pt x="5581" y="1229"/>
                  </a:cubicBezTo>
                  <a:cubicBezTo>
                    <a:pt x="5681" y="728"/>
                    <a:pt x="6049" y="310"/>
                    <a:pt x="6550" y="193"/>
                  </a:cubicBezTo>
                  <a:cubicBezTo>
                    <a:pt x="6667" y="161"/>
                    <a:pt x="6787" y="145"/>
                    <a:pt x="6905" y="145"/>
                  </a:cubicBezTo>
                  <a:close/>
                  <a:moveTo>
                    <a:pt x="11854" y="481"/>
                  </a:moveTo>
                  <a:cubicBezTo>
                    <a:pt x="12029" y="481"/>
                    <a:pt x="12205" y="524"/>
                    <a:pt x="12365" y="611"/>
                  </a:cubicBezTo>
                  <a:cubicBezTo>
                    <a:pt x="12766" y="795"/>
                    <a:pt x="13050" y="1179"/>
                    <a:pt x="13100" y="1630"/>
                  </a:cubicBezTo>
                  <a:cubicBezTo>
                    <a:pt x="13183" y="2098"/>
                    <a:pt x="13083" y="2566"/>
                    <a:pt x="12849" y="2984"/>
                  </a:cubicBezTo>
                  <a:cubicBezTo>
                    <a:pt x="12644" y="3344"/>
                    <a:pt x="12353" y="3654"/>
                    <a:pt x="12003" y="3899"/>
                  </a:cubicBezTo>
                  <a:lnTo>
                    <a:pt x="12003" y="3899"/>
                  </a:lnTo>
                  <a:cubicBezTo>
                    <a:pt x="11847" y="3763"/>
                    <a:pt x="11699" y="3618"/>
                    <a:pt x="11563" y="3468"/>
                  </a:cubicBezTo>
                  <a:cubicBezTo>
                    <a:pt x="11346" y="3234"/>
                    <a:pt x="11162" y="2967"/>
                    <a:pt x="11011" y="2683"/>
                  </a:cubicBezTo>
                  <a:cubicBezTo>
                    <a:pt x="10844" y="2382"/>
                    <a:pt x="10744" y="2031"/>
                    <a:pt x="10744" y="1680"/>
                  </a:cubicBezTo>
                  <a:cubicBezTo>
                    <a:pt x="10744" y="1296"/>
                    <a:pt x="10928" y="945"/>
                    <a:pt x="11212" y="695"/>
                  </a:cubicBezTo>
                  <a:cubicBezTo>
                    <a:pt x="11401" y="553"/>
                    <a:pt x="11627" y="481"/>
                    <a:pt x="11854" y="481"/>
                  </a:cubicBezTo>
                  <a:close/>
                  <a:moveTo>
                    <a:pt x="6874" y="0"/>
                  </a:moveTo>
                  <a:cubicBezTo>
                    <a:pt x="6754" y="0"/>
                    <a:pt x="6634" y="14"/>
                    <a:pt x="6517" y="43"/>
                  </a:cubicBezTo>
                  <a:cubicBezTo>
                    <a:pt x="6249" y="110"/>
                    <a:pt x="5999" y="244"/>
                    <a:pt x="5815" y="461"/>
                  </a:cubicBezTo>
                  <a:cubicBezTo>
                    <a:pt x="5631" y="678"/>
                    <a:pt x="5497" y="929"/>
                    <a:pt x="5431" y="1196"/>
                  </a:cubicBezTo>
                  <a:cubicBezTo>
                    <a:pt x="5314" y="1764"/>
                    <a:pt x="5431" y="2366"/>
                    <a:pt x="5748" y="2850"/>
                  </a:cubicBezTo>
                  <a:cubicBezTo>
                    <a:pt x="5789" y="2907"/>
                    <a:pt x="5831" y="2963"/>
                    <a:pt x="5875" y="3017"/>
                  </a:cubicBezTo>
                  <a:lnTo>
                    <a:pt x="5875" y="3017"/>
                  </a:lnTo>
                  <a:cubicBezTo>
                    <a:pt x="5411" y="3150"/>
                    <a:pt x="4931" y="3224"/>
                    <a:pt x="4445" y="3234"/>
                  </a:cubicBezTo>
                  <a:cubicBezTo>
                    <a:pt x="4382" y="3236"/>
                    <a:pt x="4320" y="3237"/>
                    <a:pt x="4257" y="3237"/>
                  </a:cubicBezTo>
                  <a:cubicBezTo>
                    <a:pt x="3136" y="3237"/>
                    <a:pt x="2034" y="2953"/>
                    <a:pt x="1053" y="2399"/>
                  </a:cubicBezTo>
                  <a:cubicBezTo>
                    <a:pt x="769" y="2232"/>
                    <a:pt x="502" y="2048"/>
                    <a:pt x="251" y="1848"/>
                  </a:cubicBezTo>
                  <a:cubicBezTo>
                    <a:pt x="184" y="1781"/>
                    <a:pt x="117" y="1714"/>
                    <a:pt x="67" y="1680"/>
                  </a:cubicBezTo>
                  <a:cubicBezTo>
                    <a:pt x="51" y="1664"/>
                    <a:pt x="17" y="1647"/>
                    <a:pt x="0" y="1630"/>
                  </a:cubicBezTo>
                  <a:lnTo>
                    <a:pt x="0" y="1630"/>
                  </a:lnTo>
                  <a:cubicBezTo>
                    <a:pt x="17" y="1647"/>
                    <a:pt x="34" y="1664"/>
                    <a:pt x="51" y="1697"/>
                  </a:cubicBezTo>
                  <a:lnTo>
                    <a:pt x="234" y="1864"/>
                  </a:lnTo>
                  <a:cubicBezTo>
                    <a:pt x="485" y="2081"/>
                    <a:pt x="736" y="2282"/>
                    <a:pt x="1020" y="2449"/>
                  </a:cubicBezTo>
                  <a:cubicBezTo>
                    <a:pt x="2004" y="3036"/>
                    <a:pt x="3123" y="3337"/>
                    <a:pt x="4264" y="3337"/>
                  </a:cubicBezTo>
                  <a:cubicBezTo>
                    <a:pt x="4324" y="3337"/>
                    <a:pt x="4385" y="3336"/>
                    <a:pt x="4445" y="3335"/>
                  </a:cubicBezTo>
                  <a:cubicBezTo>
                    <a:pt x="4958" y="3324"/>
                    <a:pt x="5464" y="3251"/>
                    <a:pt x="5956" y="3115"/>
                  </a:cubicBezTo>
                  <a:lnTo>
                    <a:pt x="5956" y="3115"/>
                  </a:lnTo>
                  <a:cubicBezTo>
                    <a:pt x="6260" y="3468"/>
                    <a:pt x="6634" y="3768"/>
                    <a:pt x="7051" y="3970"/>
                  </a:cubicBezTo>
                  <a:cubicBezTo>
                    <a:pt x="7936" y="4434"/>
                    <a:pt x="8909" y="4671"/>
                    <a:pt x="9893" y="4671"/>
                  </a:cubicBezTo>
                  <a:cubicBezTo>
                    <a:pt x="10043" y="4671"/>
                    <a:pt x="10193" y="4666"/>
                    <a:pt x="10343" y="4655"/>
                  </a:cubicBezTo>
                  <a:cubicBezTo>
                    <a:pt x="10967" y="4598"/>
                    <a:pt x="11564" y="4381"/>
                    <a:pt x="12055" y="4040"/>
                  </a:cubicBezTo>
                  <a:lnTo>
                    <a:pt x="12055" y="4040"/>
                  </a:lnTo>
                  <a:cubicBezTo>
                    <a:pt x="12260" y="4200"/>
                    <a:pt x="12479" y="4344"/>
                    <a:pt x="12716" y="4471"/>
                  </a:cubicBezTo>
                  <a:cubicBezTo>
                    <a:pt x="13000" y="4621"/>
                    <a:pt x="13300" y="4738"/>
                    <a:pt x="13618" y="4822"/>
                  </a:cubicBezTo>
                  <a:cubicBezTo>
                    <a:pt x="13718" y="4855"/>
                    <a:pt x="13835" y="4889"/>
                    <a:pt x="13952" y="4905"/>
                  </a:cubicBezTo>
                  <a:cubicBezTo>
                    <a:pt x="13952" y="4889"/>
                    <a:pt x="13835" y="4872"/>
                    <a:pt x="13618" y="4805"/>
                  </a:cubicBezTo>
                  <a:cubicBezTo>
                    <a:pt x="13317" y="4705"/>
                    <a:pt x="13016" y="4571"/>
                    <a:pt x="12732" y="4421"/>
                  </a:cubicBezTo>
                  <a:cubicBezTo>
                    <a:pt x="12518" y="4297"/>
                    <a:pt x="12312" y="4153"/>
                    <a:pt x="12118" y="3995"/>
                  </a:cubicBezTo>
                  <a:lnTo>
                    <a:pt x="12118" y="3995"/>
                  </a:lnTo>
                  <a:cubicBezTo>
                    <a:pt x="12468" y="3740"/>
                    <a:pt x="12761" y="3421"/>
                    <a:pt x="12966" y="3051"/>
                  </a:cubicBezTo>
                  <a:cubicBezTo>
                    <a:pt x="13234" y="2616"/>
                    <a:pt x="13317" y="2098"/>
                    <a:pt x="13234" y="1597"/>
                  </a:cubicBezTo>
                  <a:cubicBezTo>
                    <a:pt x="13167" y="1112"/>
                    <a:pt x="12866" y="695"/>
                    <a:pt x="12415" y="494"/>
                  </a:cubicBezTo>
                  <a:cubicBezTo>
                    <a:pt x="12240" y="407"/>
                    <a:pt x="12039" y="357"/>
                    <a:pt x="11847" y="357"/>
                  </a:cubicBezTo>
                  <a:cubicBezTo>
                    <a:pt x="11819" y="357"/>
                    <a:pt x="11791" y="358"/>
                    <a:pt x="11763" y="361"/>
                  </a:cubicBezTo>
                  <a:cubicBezTo>
                    <a:pt x="11529" y="377"/>
                    <a:pt x="11312" y="461"/>
                    <a:pt x="11145" y="594"/>
                  </a:cubicBezTo>
                  <a:cubicBezTo>
                    <a:pt x="10828" y="862"/>
                    <a:pt x="10644" y="1263"/>
                    <a:pt x="10644" y="1680"/>
                  </a:cubicBezTo>
                  <a:cubicBezTo>
                    <a:pt x="10644" y="2048"/>
                    <a:pt x="10744" y="2416"/>
                    <a:pt x="10928" y="2733"/>
                  </a:cubicBezTo>
                  <a:cubicBezTo>
                    <a:pt x="11078" y="3017"/>
                    <a:pt x="11279" y="3284"/>
                    <a:pt x="11496" y="3518"/>
                  </a:cubicBezTo>
                  <a:cubicBezTo>
                    <a:pt x="11635" y="3671"/>
                    <a:pt x="11782" y="3812"/>
                    <a:pt x="11938" y="3944"/>
                  </a:cubicBezTo>
                  <a:lnTo>
                    <a:pt x="11938" y="3944"/>
                  </a:lnTo>
                  <a:cubicBezTo>
                    <a:pt x="11474" y="4252"/>
                    <a:pt x="10915" y="4449"/>
                    <a:pt x="10326" y="4504"/>
                  </a:cubicBezTo>
                  <a:cubicBezTo>
                    <a:pt x="10180" y="4515"/>
                    <a:pt x="10034" y="4521"/>
                    <a:pt x="9888" y="4521"/>
                  </a:cubicBezTo>
                  <a:cubicBezTo>
                    <a:pt x="8933" y="4521"/>
                    <a:pt x="7990" y="4285"/>
                    <a:pt x="7135" y="3836"/>
                  </a:cubicBezTo>
                  <a:cubicBezTo>
                    <a:pt x="6750" y="3643"/>
                    <a:pt x="6405" y="3382"/>
                    <a:pt x="6121" y="3067"/>
                  </a:cubicBezTo>
                  <a:lnTo>
                    <a:pt x="6121" y="3067"/>
                  </a:lnTo>
                  <a:cubicBezTo>
                    <a:pt x="6374" y="2989"/>
                    <a:pt x="6624" y="2895"/>
                    <a:pt x="6868" y="2783"/>
                  </a:cubicBezTo>
                  <a:cubicBezTo>
                    <a:pt x="7285" y="2583"/>
                    <a:pt x="7670" y="2282"/>
                    <a:pt x="7954" y="1914"/>
                  </a:cubicBezTo>
                  <a:cubicBezTo>
                    <a:pt x="8104" y="1714"/>
                    <a:pt x="8204" y="1480"/>
                    <a:pt x="8221" y="1213"/>
                  </a:cubicBezTo>
                  <a:cubicBezTo>
                    <a:pt x="8238" y="962"/>
                    <a:pt x="8154" y="695"/>
                    <a:pt x="7987" y="477"/>
                  </a:cubicBezTo>
                  <a:cubicBezTo>
                    <a:pt x="7820" y="277"/>
                    <a:pt x="7586" y="127"/>
                    <a:pt x="7319" y="60"/>
                  </a:cubicBezTo>
                  <a:cubicBezTo>
                    <a:pt x="7178" y="22"/>
                    <a:pt x="7027" y="0"/>
                    <a:pt x="687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5" name="Google Shape;1715;p40"/>
            <p:cNvSpPr/>
            <p:nvPr/>
          </p:nvSpPr>
          <p:spPr>
            <a:xfrm>
              <a:off x="7068759" y="2434191"/>
              <a:ext cx="844433" cy="396899"/>
            </a:xfrm>
            <a:custGeom>
              <a:avLst/>
              <a:gdLst/>
              <a:ahLst/>
              <a:cxnLst/>
              <a:rect l="l" t="t" r="r" b="b"/>
              <a:pathLst>
                <a:path w="26333" h="12377" extrusionOk="0">
                  <a:moveTo>
                    <a:pt x="21437" y="1"/>
                  </a:moveTo>
                  <a:cubicBezTo>
                    <a:pt x="21437" y="1"/>
                    <a:pt x="18597" y="7269"/>
                    <a:pt x="17828" y="7336"/>
                  </a:cubicBezTo>
                  <a:cubicBezTo>
                    <a:pt x="17331" y="7381"/>
                    <a:pt x="16829" y="7401"/>
                    <a:pt x="16329" y="7401"/>
                  </a:cubicBezTo>
                  <a:cubicBezTo>
                    <a:pt x="12579" y="7401"/>
                    <a:pt x="8903" y="6252"/>
                    <a:pt x="7502" y="5765"/>
                  </a:cubicBezTo>
                  <a:cubicBezTo>
                    <a:pt x="7335" y="5581"/>
                    <a:pt x="7151" y="5364"/>
                    <a:pt x="6951" y="5097"/>
                  </a:cubicBezTo>
                  <a:cubicBezTo>
                    <a:pt x="6784" y="4880"/>
                    <a:pt x="6633" y="4612"/>
                    <a:pt x="6550" y="4345"/>
                  </a:cubicBezTo>
                  <a:cubicBezTo>
                    <a:pt x="6433" y="4011"/>
                    <a:pt x="6349" y="3660"/>
                    <a:pt x="6333" y="3292"/>
                  </a:cubicBezTo>
                  <a:cubicBezTo>
                    <a:pt x="6344" y="3087"/>
                    <a:pt x="6176" y="2936"/>
                    <a:pt x="5999" y="2936"/>
                  </a:cubicBezTo>
                  <a:cubicBezTo>
                    <a:pt x="5917" y="2936"/>
                    <a:pt x="5833" y="2968"/>
                    <a:pt x="5765" y="3042"/>
                  </a:cubicBezTo>
                  <a:cubicBezTo>
                    <a:pt x="5581" y="3276"/>
                    <a:pt x="5531" y="4178"/>
                    <a:pt x="5948" y="5147"/>
                  </a:cubicBezTo>
                  <a:cubicBezTo>
                    <a:pt x="6100" y="5506"/>
                    <a:pt x="6000" y="5630"/>
                    <a:pt x="5785" y="5630"/>
                  </a:cubicBezTo>
                  <a:cubicBezTo>
                    <a:pt x="5410" y="5630"/>
                    <a:pt x="4684" y="5250"/>
                    <a:pt x="4344" y="5080"/>
                  </a:cubicBezTo>
                  <a:cubicBezTo>
                    <a:pt x="3826" y="4829"/>
                    <a:pt x="2276" y="4135"/>
                    <a:pt x="1924" y="4135"/>
                  </a:cubicBezTo>
                  <a:cubicBezTo>
                    <a:pt x="1901" y="4135"/>
                    <a:pt x="1884" y="4138"/>
                    <a:pt x="1871" y="4144"/>
                  </a:cubicBezTo>
                  <a:cubicBezTo>
                    <a:pt x="1554" y="4295"/>
                    <a:pt x="1654" y="4662"/>
                    <a:pt x="2189" y="4913"/>
                  </a:cubicBezTo>
                  <a:cubicBezTo>
                    <a:pt x="2757" y="5180"/>
                    <a:pt x="4328" y="6066"/>
                    <a:pt x="4177" y="6350"/>
                  </a:cubicBezTo>
                  <a:cubicBezTo>
                    <a:pt x="4164" y="6376"/>
                    <a:pt x="4129" y="6387"/>
                    <a:pt x="4077" y="6387"/>
                  </a:cubicBezTo>
                  <a:cubicBezTo>
                    <a:pt x="3553" y="6387"/>
                    <a:pt x="1270" y="5197"/>
                    <a:pt x="1270" y="5197"/>
                  </a:cubicBezTo>
                  <a:cubicBezTo>
                    <a:pt x="1270" y="5197"/>
                    <a:pt x="996" y="4991"/>
                    <a:pt x="772" y="4991"/>
                  </a:cubicBezTo>
                  <a:cubicBezTo>
                    <a:pt x="684" y="4991"/>
                    <a:pt x="604" y="5024"/>
                    <a:pt x="551" y="5114"/>
                  </a:cubicBezTo>
                  <a:cubicBezTo>
                    <a:pt x="201" y="5698"/>
                    <a:pt x="3225" y="6985"/>
                    <a:pt x="3526" y="7102"/>
                  </a:cubicBezTo>
                  <a:cubicBezTo>
                    <a:pt x="3699" y="7174"/>
                    <a:pt x="3597" y="7422"/>
                    <a:pt x="3426" y="7422"/>
                  </a:cubicBezTo>
                  <a:cubicBezTo>
                    <a:pt x="3399" y="7422"/>
                    <a:pt x="3371" y="7416"/>
                    <a:pt x="3342" y="7403"/>
                  </a:cubicBezTo>
                  <a:cubicBezTo>
                    <a:pt x="3162" y="7320"/>
                    <a:pt x="1429" y="6357"/>
                    <a:pt x="636" y="6357"/>
                  </a:cubicBezTo>
                  <a:cubicBezTo>
                    <a:pt x="470" y="6357"/>
                    <a:pt x="345" y="6399"/>
                    <a:pt x="284" y="6500"/>
                  </a:cubicBezTo>
                  <a:cubicBezTo>
                    <a:pt x="0" y="6935"/>
                    <a:pt x="2757" y="7586"/>
                    <a:pt x="3125" y="8154"/>
                  </a:cubicBezTo>
                  <a:cubicBezTo>
                    <a:pt x="3192" y="8266"/>
                    <a:pt x="3158" y="8310"/>
                    <a:pt x="3058" y="8310"/>
                  </a:cubicBezTo>
                  <a:cubicBezTo>
                    <a:pt x="2712" y="8310"/>
                    <a:pt x="1579" y="7796"/>
                    <a:pt x="1070" y="7796"/>
                  </a:cubicBezTo>
                  <a:cubicBezTo>
                    <a:pt x="954" y="7796"/>
                    <a:pt x="870" y="7822"/>
                    <a:pt x="836" y="7887"/>
                  </a:cubicBezTo>
                  <a:cubicBezTo>
                    <a:pt x="735" y="8054"/>
                    <a:pt x="685" y="8188"/>
                    <a:pt x="2172" y="8723"/>
                  </a:cubicBezTo>
                  <a:cubicBezTo>
                    <a:pt x="3258" y="9073"/>
                    <a:pt x="4361" y="9341"/>
                    <a:pt x="5480" y="9575"/>
                  </a:cubicBezTo>
                  <a:lnTo>
                    <a:pt x="5480" y="9591"/>
                  </a:lnTo>
                  <a:cubicBezTo>
                    <a:pt x="5480" y="9591"/>
                    <a:pt x="11741" y="12376"/>
                    <a:pt x="16929" y="12376"/>
                  </a:cubicBezTo>
                  <a:cubicBezTo>
                    <a:pt x="19523" y="12376"/>
                    <a:pt x="21849" y="11680"/>
                    <a:pt x="22991" y="9591"/>
                  </a:cubicBezTo>
                  <a:cubicBezTo>
                    <a:pt x="24294" y="7219"/>
                    <a:pt x="25414" y="4746"/>
                    <a:pt x="26333" y="2223"/>
                  </a:cubicBezTo>
                  <a:lnTo>
                    <a:pt x="21437" y="1"/>
                  </a:lnTo>
                  <a:close/>
                </a:path>
              </a:pathLst>
            </a:custGeom>
            <a:solidFill>
              <a:srgbClr val="AA75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6" name="Google Shape;1716;p40"/>
            <p:cNvSpPr/>
            <p:nvPr/>
          </p:nvSpPr>
          <p:spPr>
            <a:xfrm>
              <a:off x="8006413" y="3047161"/>
              <a:ext cx="34312" cy="32164"/>
            </a:xfrm>
            <a:custGeom>
              <a:avLst/>
              <a:gdLst/>
              <a:ahLst/>
              <a:cxnLst/>
              <a:rect l="l" t="t" r="r" b="b"/>
              <a:pathLst>
                <a:path w="1070" h="1003" extrusionOk="0">
                  <a:moveTo>
                    <a:pt x="501" y="0"/>
                  </a:moveTo>
                  <a:cubicBezTo>
                    <a:pt x="384" y="0"/>
                    <a:pt x="284" y="50"/>
                    <a:pt x="201" y="134"/>
                  </a:cubicBezTo>
                  <a:cubicBezTo>
                    <a:pt x="67" y="251"/>
                    <a:pt x="0" y="418"/>
                    <a:pt x="17" y="585"/>
                  </a:cubicBezTo>
                  <a:cubicBezTo>
                    <a:pt x="84" y="855"/>
                    <a:pt x="318" y="1002"/>
                    <a:pt x="552" y="1002"/>
                  </a:cubicBezTo>
                  <a:cubicBezTo>
                    <a:pt x="724" y="1002"/>
                    <a:pt x="896" y="922"/>
                    <a:pt x="1003" y="752"/>
                  </a:cubicBezTo>
                  <a:cubicBezTo>
                    <a:pt x="1069" y="585"/>
                    <a:pt x="1069" y="401"/>
                    <a:pt x="986" y="251"/>
                  </a:cubicBezTo>
                  <a:cubicBezTo>
                    <a:pt x="936" y="151"/>
                    <a:pt x="836" y="84"/>
                    <a:pt x="735" y="34"/>
                  </a:cubicBezTo>
                  <a:cubicBezTo>
                    <a:pt x="702" y="25"/>
                    <a:pt x="673" y="21"/>
                    <a:pt x="652" y="21"/>
                  </a:cubicBezTo>
                  <a:cubicBezTo>
                    <a:pt x="631" y="21"/>
                    <a:pt x="618" y="25"/>
                    <a:pt x="618" y="34"/>
                  </a:cubicBezTo>
                  <a:cubicBezTo>
                    <a:pt x="618" y="50"/>
                    <a:pt x="785" y="84"/>
                    <a:pt x="886" y="301"/>
                  </a:cubicBezTo>
                  <a:cubicBezTo>
                    <a:pt x="936" y="418"/>
                    <a:pt x="936" y="568"/>
                    <a:pt x="886" y="685"/>
                  </a:cubicBezTo>
                  <a:cubicBezTo>
                    <a:pt x="802" y="804"/>
                    <a:pt x="677" y="859"/>
                    <a:pt x="553" y="859"/>
                  </a:cubicBezTo>
                  <a:cubicBezTo>
                    <a:pt x="380" y="859"/>
                    <a:pt x="209" y="753"/>
                    <a:pt x="150" y="568"/>
                  </a:cubicBezTo>
                  <a:cubicBezTo>
                    <a:pt x="134" y="435"/>
                    <a:pt x="184" y="301"/>
                    <a:pt x="267" y="201"/>
                  </a:cubicBezTo>
                  <a:cubicBezTo>
                    <a:pt x="368" y="117"/>
                    <a:pt x="485" y="50"/>
                    <a:pt x="618" y="34"/>
                  </a:cubicBezTo>
                  <a:cubicBezTo>
                    <a:pt x="618" y="17"/>
                    <a:pt x="568" y="0"/>
                    <a:pt x="501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7" name="Google Shape;1717;p40"/>
            <p:cNvSpPr/>
            <p:nvPr/>
          </p:nvSpPr>
          <p:spPr>
            <a:xfrm>
              <a:off x="7300222" y="2403118"/>
              <a:ext cx="704587" cy="427620"/>
            </a:xfrm>
            <a:custGeom>
              <a:avLst/>
              <a:gdLst/>
              <a:ahLst/>
              <a:cxnLst/>
              <a:rect l="l" t="t" r="r" b="b"/>
              <a:pathLst>
                <a:path w="21972" h="13335" extrusionOk="0">
                  <a:moveTo>
                    <a:pt x="15706" y="1"/>
                  </a:moveTo>
                  <a:cubicBezTo>
                    <a:pt x="14854" y="1"/>
                    <a:pt x="14035" y="335"/>
                    <a:pt x="13400" y="903"/>
                  </a:cubicBezTo>
                  <a:lnTo>
                    <a:pt x="5999" y="903"/>
                  </a:lnTo>
                  <a:lnTo>
                    <a:pt x="0" y="13334"/>
                  </a:lnTo>
                  <a:lnTo>
                    <a:pt x="15923" y="13334"/>
                  </a:lnTo>
                  <a:lnTo>
                    <a:pt x="21788" y="920"/>
                  </a:lnTo>
                  <a:cubicBezTo>
                    <a:pt x="21972" y="485"/>
                    <a:pt x="21671" y="1"/>
                    <a:pt x="2120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8" name="Google Shape;1718;p40"/>
            <p:cNvSpPr/>
            <p:nvPr/>
          </p:nvSpPr>
          <p:spPr>
            <a:xfrm>
              <a:off x="7316288" y="2424539"/>
              <a:ext cx="560476" cy="367622"/>
            </a:xfrm>
            <a:custGeom>
              <a:avLst/>
              <a:gdLst/>
              <a:ahLst/>
              <a:cxnLst/>
              <a:rect l="l" t="t" r="r" b="b"/>
              <a:pathLst>
                <a:path w="17478" h="11464" extrusionOk="0">
                  <a:moveTo>
                    <a:pt x="1872" y="1"/>
                  </a:moveTo>
                  <a:lnTo>
                    <a:pt x="0" y="11379"/>
                  </a:lnTo>
                  <a:lnTo>
                    <a:pt x="15606" y="11463"/>
                  </a:lnTo>
                  <a:lnTo>
                    <a:pt x="17478" y="51"/>
                  </a:lnTo>
                  <a:lnTo>
                    <a:pt x="1872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9" name="Google Shape;1719;p40"/>
            <p:cNvSpPr/>
            <p:nvPr/>
          </p:nvSpPr>
          <p:spPr>
            <a:xfrm>
              <a:off x="7313081" y="2422422"/>
              <a:ext cx="564228" cy="371855"/>
            </a:xfrm>
            <a:custGeom>
              <a:avLst/>
              <a:gdLst/>
              <a:ahLst/>
              <a:cxnLst/>
              <a:rect l="l" t="t" r="r" b="b"/>
              <a:pathLst>
                <a:path w="17595" h="11596" extrusionOk="0">
                  <a:moveTo>
                    <a:pt x="17576" y="125"/>
                  </a:moveTo>
                  <a:lnTo>
                    <a:pt x="17576" y="125"/>
                  </a:lnTo>
                  <a:cubicBezTo>
                    <a:pt x="17572" y="148"/>
                    <a:pt x="17558" y="224"/>
                    <a:pt x="17544" y="334"/>
                  </a:cubicBezTo>
                  <a:cubicBezTo>
                    <a:pt x="17511" y="485"/>
                    <a:pt x="17477" y="685"/>
                    <a:pt x="17444" y="953"/>
                  </a:cubicBezTo>
                  <a:cubicBezTo>
                    <a:pt x="17344" y="1487"/>
                    <a:pt x="17210" y="2256"/>
                    <a:pt x="17043" y="3258"/>
                  </a:cubicBezTo>
                  <a:cubicBezTo>
                    <a:pt x="16711" y="5234"/>
                    <a:pt x="16230" y="8050"/>
                    <a:pt x="15667" y="11462"/>
                  </a:cubicBezTo>
                  <a:lnTo>
                    <a:pt x="15667" y="11462"/>
                  </a:lnTo>
                  <a:lnTo>
                    <a:pt x="181" y="11379"/>
                  </a:lnTo>
                  <a:lnTo>
                    <a:pt x="181" y="11379"/>
                  </a:lnTo>
                  <a:cubicBezTo>
                    <a:pt x="840" y="7343"/>
                    <a:pt x="1466" y="3519"/>
                    <a:pt x="2028" y="134"/>
                  </a:cubicBezTo>
                  <a:lnTo>
                    <a:pt x="17511" y="134"/>
                  </a:lnTo>
                  <a:cubicBezTo>
                    <a:pt x="17524" y="134"/>
                    <a:pt x="17549" y="134"/>
                    <a:pt x="17576" y="125"/>
                  </a:cubicBezTo>
                  <a:close/>
                  <a:moveTo>
                    <a:pt x="1905" y="0"/>
                  </a:moveTo>
                  <a:lnTo>
                    <a:pt x="1905" y="50"/>
                  </a:lnTo>
                  <a:cubicBezTo>
                    <a:pt x="1337" y="3476"/>
                    <a:pt x="702" y="7352"/>
                    <a:pt x="17" y="11445"/>
                  </a:cubicBezTo>
                  <a:lnTo>
                    <a:pt x="0" y="11529"/>
                  </a:lnTo>
                  <a:lnTo>
                    <a:pt x="100" y="11529"/>
                  </a:lnTo>
                  <a:cubicBezTo>
                    <a:pt x="5932" y="11546"/>
                    <a:pt x="11312" y="11579"/>
                    <a:pt x="15706" y="11596"/>
                  </a:cubicBezTo>
                  <a:lnTo>
                    <a:pt x="15773" y="11596"/>
                  </a:lnTo>
                  <a:lnTo>
                    <a:pt x="15773" y="11546"/>
                  </a:lnTo>
                  <a:cubicBezTo>
                    <a:pt x="16324" y="8087"/>
                    <a:pt x="16792" y="5213"/>
                    <a:pt x="17110" y="3225"/>
                  </a:cubicBezTo>
                  <a:cubicBezTo>
                    <a:pt x="17260" y="2239"/>
                    <a:pt x="17377" y="1454"/>
                    <a:pt x="17461" y="919"/>
                  </a:cubicBezTo>
                  <a:cubicBezTo>
                    <a:pt x="17511" y="668"/>
                    <a:pt x="17544" y="468"/>
                    <a:pt x="17561" y="318"/>
                  </a:cubicBezTo>
                  <a:cubicBezTo>
                    <a:pt x="17574" y="209"/>
                    <a:pt x="17577" y="145"/>
                    <a:pt x="17577" y="124"/>
                  </a:cubicBezTo>
                  <a:lnTo>
                    <a:pt x="17577" y="124"/>
                  </a:lnTo>
                  <a:cubicBezTo>
                    <a:pt x="17583" y="122"/>
                    <a:pt x="17589" y="120"/>
                    <a:pt x="17594" y="117"/>
                  </a:cubicBezTo>
                  <a:lnTo>
                    <a:pt x="17310" y="117"/>
                  </a:lnTo>
                  <a:lnTo>
                    <a:pt x="16458" y="100"/>
                  </a:lnTo>
                  <a:lnTo>
                    <a:pt x="13267" y="67"/>
                  </a:lnTo>
                  <a:lnTo>
                    <a:pt x="1972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0" name="Google Shape;1720;p40"/>
            <p:cNvSpPr/>
            <p:nvPr/>
          </p:nvSpPr>
          <p:spPr>
            <a:xfrm>
              <a:off x="7418102" y="2472223"/>
              <a:ext cx="46081" cy="264749"/>
            </a:xfrm>
            <a:custGeom>
              <a:avLst/>
              <a:gdLst/>
              <a:ahLst/>
              <a:cxnLst/>
              <a:rect l="l" t="t" r="r" b="b"/>
              <a:pathLst>
                <a:path w="1437" h="8256" extrusionOk="0">
                  <a:moveTo>
                    <a:pt x="1386" y="1"/>
                  </a:moveTo>
                  <a:cubicBezTo>
                    <a:pt x="1350" y="1"/>
                    <a:pt x="1018" y="1849"/>
                    <a:pt x="635" y="4111"/>
                  </a:cubicBezTo>
                  <a:cubicBezTo>
                    <a:pt x="267" y="6400"/>
                    <a:pt x="0" y="8255"/>
                    <a:pt x="33" y="8255"/>
                  </a:cubicBezTo>
                  <a:cubicBezTo>
                    <a:pt x="34" y="8255"/>
                    <a:pt x="34" y="8255"/>
                    <a:pt x="34" y="8255"/>
                  </a:cubicBezTo>
                  <a:cubicBezTo>
                    <a:pt x="87" y="8255"/>
                    <a:pt x="419" y="6407"/>
                    <a:pt x="785" y="4145"/>
                  </a:cubicBezTo>
                  <a:cubicBezTo>
                    <a:pt x="1170" y="1856"/>
                    <a:pt x="1437" y="1"/>
                    <a:pt x="1387" y="1"/>
                  </a:cubicBezTo>
                  <a:cubicBezTo>
                    <a:pt x="1387" y="1"/>
                    <a:pt x="1387" y="1"/>
                    <a:pt x="138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1" name="Google Shape;1721;p40"/>
            <p:cNvSpPr/>
            <p:nvPr/>
          </p:nvSpPr>
          <p:spPr>
            <a:xfrm>
              <a:off x="7473290" y="2483479"/>
              <a:ext cx="43965" cy="250255"/>
            </a:xfrm>
            <a:custGeom>
              <a:avLst/>
              <a:gdLst/>
              <a:ahLst/>
              <a:cxnLst/>
              <a:rect l="l" t="t" r="r" b="b"/>
              <a:pathLst>
                <a:path w="1371" h="7804" extrusionOk="0">
                  <a:moveTo>
                    <a:pt x="1320" y="1"/>
                  </a:moveTo>
                  <a:cubicBezTo>
                    <a:pt x="1283" y="1"/>
                    <a:pt x="951" y="1732"/>
                    <a:pt x="602" y="3877"/>
                  </a:cubicBezTo>
                  <a:cubicBezTo>
                    <a:pt x="251" y="6033"/>
                    <a:pt x="0" y="7787"/>
                    <a:pt x="33" y="7804"/>
                  </a:cubicBezTo>
                  <a:cubicBezTo>
                    <a:pt x="84" y="7804"/>
                    <a:pt x="401" y="6066"/>
                    <a:pt x="752" y="3911"/>
                  </a:cubicBezTo>
                  <a:cubicBezTo>
                    <a:pt x="1103" y="1755"/>
                    <a:pt x="1370" y="1"/>
                    <a:pt x="1320" y="1"/>
                  </a:cubicBezTo>
                  <a:cubicBezTo>
                    <a:pt x="1320" y="1"/>
                    <a:pt x="1320" y="1"/>
                    <a:pt x="13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2" name="Google Shape;1722;p40"/>
            <p:cNvSpPr/>
            <p:nvPr/>
          </p:nvSpPr>
          <p:spPr>
            <a:xfrm>
              <a:off x="7531685" y="2478669"/>
              <a:ext cx="43419" cy="250255"/>
            </a:xfrm>
            <a:custGeom>
              <a:avLst/>
              <a:gdLst/>
              <a:ahLst/>
              <a:cxnLst/>
              <a:rect l="l" t="t" r="r" b="b"/>
              <a:pathLst>
                <a:path w="1354" h="7804" extrusionOk="0">
                  <a:moveTo>
                    <a:pt x="1320" y="0"/>
                  </a:moveTo>
                  <a:cubicBezTo>
                    <a:pt x="1267" y="0"/>
                    <a:pt x="951" y="1748"/>
                    <a:pt x="602" y="3894"/>
                  </a:cubicBezTo>
                  <a:cubicBezTo>
                    <a:pt x="251" y="6049"/>
                    <a:pt x="0" y="7803"/>
                    <a:pt x="34" y="7803"/>
                  </a:cubicBezTo>
                  <a:cubicBezTo>
                    <a:pt x="84" y="7803"/>
                    <a:pt x="401" y="6066"/>
                    <a:pt x="752" y="3910"/>
                  </a:cubicBezTo>
                  <a:cubicBezTo>
                    <a:pt x="1103" y="1755"/>
                    <a:pt x="1354" y="1"/>
                    <a:pt x="1320" y="1"/>
                  </a:cubicBezTo>
                  <a:cubicBezTo>
                    <a:pt x="1320" y="0"/>
                    <a:pt x="1320" y="0"/>
                    <a:pt x="132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3" name="Google Shape;1723;p40"/>
            <p:cNvSpPr/>
            <p:nvPr/>
          </p:nvSpPr>
          <p:spPr>
            <a:xfrm>
              <a:off x="7586874" y="2482421"/>
              <a:ext cx="43965" cy="250255"/>
            </a:xfrm>
            <a:custGeom>
              <a:avLst/>
              <a:gdLst/>
              <a:ahLst/>
              <a:cxnLst/>
              <a:rect l="l" t="t" r="r" b="b"/>
              <a:pathLst>
                <a:path w="1371" h="7804" extrusionOk="0">
                  <a:moveTo>
                    <a:pt x="1320" y="0"/>
                  </a:moveTo>
                  <a:cubicBezTo>
                    <a:pt x="1284" y="0"/>
                    <a:pt x="968" y="1748"/>
                    <a:pt x="602" y="3894"/>
                  </a:cubicBezTo>
                  <a:cubicBezTo>
                    <a:pt x="251" y="6049"/>
                    <a:pt x="0" y="7787"/>
                    <a:pt x="50" y="7803"/>
                  </a:cubicBezTo>
                  <a:cubicBezTo>
                    <a:pt x="84" y="7803"/>
                    <a:pt x="401" y="6066"/>
                    <a:pt x="752" y="3910"/>
                  </a:cubicBezTo>
                  <a:cubicBezTo>
                    <a:pt x="1120" y="1755"/>
                    <a:pt x="1370" y="0"/>
                    <a:pt x="1320" y="0"/>
                  </a:cubicBezTo>
                  <a:cubicBezTo>
                    <a:pt x="1320" y="0"/>
                    <a:pt x="1320" y="0"/>
                    <a:pt x="132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4" name="Google Shape;1724;p40"/>
            <p:cNvSpPr/>
            <p:nvPr/>
          </p:nvSpPr>
          <p:spPr>
            <a:xfrm>
              <a:off x="7649020" y="2488834"/>
              <a:ext cx="43419" cy="250800"/>
            </a:xfrm>
            <a:custGeom>
              <a:avLst/>
              <a:gdLst/>
              <a:ahLst/>
              <a:cxnLst/>
              <a:rect l="l" t="t" r="r" b="b"/>
              <a:pathLst>
                <a:path w="1354" h="7821" extrusionOk="0">
                  <a:moveTo>
                    <a:pt x="1320" y="1"/>
                  </a:moveTo>
                  <a:lnTo>
                    <a:pt x="1320" y="1"/>
                  </a:lnTo>
                  <a:cubicBezTo>
                    <a:pt x="1270" y="1"/>
                    <a:pt x="953" y="1739"/>
                    <a:pt x="602" y="3894"/>
                  </a:cubicBezTo>
                  <a:cubicBezTo>
                    <a:pt x="251" y="6049"/>
                    <a:pt x="0" y="7804"/>
                    <a:pt x="34" y="7821"/>
                  </a:cubicBezTo>
                  <a:cubicBezTo>
                    <a:pt x="67" y="7821"/>
                    <a:pt x="401" y="6083"/>
                    <a:pt x="752" y="3927"/>
                  </a:cubicBezTo>
                  <a:cubicBezTo>
                    <a:pt x="1103" y="1772"/>
                    <a:pt x="1354" y="18"/>
                    <a:pt x="132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5" name="Google Shape;1725;p40"/>
            <p:cNvSpPr/>
            <p:nvPr/>
          </p:nvSpPr>
          <p:spPr>
            <a:xfrm>
              <a:off x="7697763" y="2485114"/>
              <a:ext cx="43451" cy="250255"/>
            </a:xfrm>
            <a:custGeom>
              <a:avLst/>
              <a:gdLst/>
              <a:ahLst/>
              <a:cxnLst/>
              <a:rect l="l" t="t" r="r" b="b"/>
              <a:pathLst>
                <a:path w="1355" h="7804" extrusionOk="0">
                  <a:moveTo>
                    <a:pt x="1321" y="0"/>
                  </a:moveTo>
                  <a:cubicBezTo>
                    <a:pt x="1287" y="0"/>
                    <a:pt x="953" y="1738"/>
                    <a:pt x="602" y="3893"/>
                  </a:cubicBezTo>
                  <a:cubicBezTo>
                    <a:pt x="252" y="6049"/>
                    <a:pt x="1" y="7803"/>
                    <a:pt x="34" y="7803"/>
                  </a:cubicBezTo>
                  <a:cubicBezTo>
                    <a:pt x="35" y="7803"/>
                    <a:pt x="35" y="7803"/>
                    <a:pt x="35" y="7803"/>
                  </a:cubicBezTo>
                  <a:cubicBezTo>
                    <a:pt x="88" y="7803"/>
                    <a:pt x="404" y="6072"/>
                    <a:pt x="753" y="3927"/>
                  </a:cubicBezTo>
                  <a:cubicBezTo>
                    <a:pt x="1104" y="1771"/>
                    <a:pt x="1354" y="17"/>
                    <a:pt x="132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6" name="Google Shape;1726;p40"/>
            <p:cNvSpPr/>
            <p:nvPr/>
          </p:nvSpPr>
          <p:spPr>
            <a:xfrm>
              <a:off x="7091783" y="2472768"/>
              <a:ext cx="719082" cy="357970"/>
            </a:xfrm>
            <a:custGeom>
              <a:avLst/>
              <a:gdLst/>
              <a:ahLst/>
              <a:cxnLst/>
              <a:rect l="l" t="t" r="r" b="b"/>
              <a:pathLst>
                <a:path w="22424" h="11163" extrusionOk="0">
                  <a:moveTo>
                    <a:pt x="468" y="1"/>
                  </a:moveTo>
                  <a:cubicBezTo>
                    <a:pt x="184" y="1"/>
                    <a:pt x="1" y="268"/>
                    <a:pt x="134" y="485"/>
                  </a:cubicBezTo>
                  <a:lnTo>
                    <a:pt x="6500" y="11162"/>
                  </a:lnTo>
                  <a:lnTo>
                    <a:pt x="22423" y="11162"/>
                  </a:lnTo>
                  <a:lnTo>
                    <a:pt x="15991" y="185"/>
                  </a:lnTo>
                  <a:cubicBezTo>
                    <a:pt x="15907" y="68"/>
                    <a:pt x="15790" y="1"/>
                    <a:pt x="15640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7" name="Google Shape;1727;p40"/>
            <p:cNvSpPr/>
            <p:nvPr/>
          </p:nvSpPr>
          <p:spPr>
            <a:xfrm>
              <a:off x="7554710" y="2456703"/>
              <a:ext cx="843920" cy="396867"/>
            </a:xfrm>
            <a:custGeom>
              <a:avLst/>
              <a:gdLst/>
              <a:ahLst/>
              <a:cxnLst/>
              <a:rect l="l" t="t" r="r" b="b"/>
              <a:pathLst>
                <a:path w="26317" h="12376" extrusionOk="0">
                  <a:moveTo>
                    <a:pt x="21421" y="0"/>
                  </a:moveTo>
                  <a:cubicBezTo>
                    <a:pt x="21421" y="0"/>
                    <a:pt x="18581" y="7269"/>
                    <a:pt x="17829" y="7336"/>
                  </a:cubicBezTo>
                  <a:cubicBezTo>
                    <a:pt x="17327" y="7381"/>
                    <a:pt x="16820" y="7402"/>
                    <a:pt x="16315" y="7402"/>
                  </a:cubicBezTo>
                  <a:cubicBezTo>
                    <a:pt x="12567" y="7402"/>
                    <a:pt x="8885" y="6266"/>
                    <a:pt x="7486" y="5765"/>
                  </a:cubicBezTo>
                  <a:cubicBezTo>
                    <a:pt x="7336" y="5598"/>
                    <a:pt x="7152" y="5381"/>
                    <a:pt x="6935" y="5113"/>
                  </a:cubicBezTo>
                  <a:cubicBezTo>
                    <a:pt x="6768" y="4879"/>
                    <a:pt x="6634" y="4629"/>
                    <a:pt x="6551" y="4345"/>
                  </a:cubicBezTo>
                  <a:cubicBezTo>
                    <a:pt x="6417" y="4011"/>
                    <a:pt x="6350" y="3660"/>
                    <a:pt x="6317" y="3309"/>
                  </a:cubicBezTo>
                  <a:cubicBezTo>
                    <a:pt x="6328" y="3082"/>
                    <a:pt x="6147" y="2932"/>
                    <a:pt x="5972" y="2932"/>
                  </a:cubicBezTo>
                  <a:cubicBezTo>
                    <a:pt x="5889" y="2932"/>
                    <a:pt x="5808" y="2966"/>
                    <a:pt x="5748" y="3041"/>
                  </a:cubicBezTo>
                  <a:cubicBezTo>
                    <a:pt x="5565" y="3275"/>
                    <a:pt x="5515" y="4178"/>
                    <a:pt x="5932" y="5163"/>
                  </a:cubicBezTo>
                  <a:cubicBezTo>
                    <a:pt x="6084" y="5515"/>
                    <a:pt x="5987" y="5638"/>
                    <a:pt x="5775" y="5638"/>
                  </a:cubicBezTo>
                  <a:cubicBezTo>
                    <a:pt x="5403" y="5638"/>
                    <a:pt x="4679" y="5261"/>
                    <a:pt x="4328" y="5080"/>
                  </a:cubicBezTo>
                  <a:cubicBezTo>
                    <a:pt x="3826" y="4829"/>
                    <a:pt x="2277" y="4135"/>
                    <a:pt x="1911" y="4135"/>
                  </a:cubicBezTo>
                  <a:cubicBezTo>
                    <a:pt x="1887" y="4135"/>
                    <a:pt x="1869" y="4138"/>
                    <a:pt x="1855" y="4144"/>
                  </a:cubicBezTo>
                  <a:cubicBezTo>
                    <a:pt x="1538" y="4295"/>
                    <a:pt x="1638" y="4662"/>
                    <a:pt x="2190" y="4929"/>
                  </a:cubicBezTo>
                  <a:cubicBezTo>
                    <a:pt x="2741" y="5180"/>
                    <a:pt x="4328" y="6082"/>
                    <a:pt x="4161" y="6350"/>
                  </a:cubicBezTo>
                  <a:cubicBezTo>
                    <a:pt x="4148" y="6376"/>
                    <a:pt x="4112" y="6387"/>
                    <a:pt x="4060" y="6387"/>
                  </a:cubicBezTo>
                  <a:cubicBezTo>
                    <a:pt x="3535" y="6387"/>
                    <a:pt x="1271" y="5214"/>
                    <a:pt x="1271" y="5214"/>
                  </a:cubicBezTo>
                  <a:cubicBezTo>
                    <a:pt x="1271" y="5214"/>
                    <a:pt x="996" y="5008"/>
                    <a:pt x="767" y="5008"/>
                  </a:cubicBezTo>
                  <a:cubicBezTo>
                    <a:pt x="676" y="5008"/>
                    <a:pt x="592" y="5040"/>
                    <a:pt x="535" y="5130"/>
                  </a:cubicBezTo>
                  <a:cubicBezTo>
                    <a:pt x="185" y="5698"/>
                    <a:pt x="3209" y="7001"/>
                    <a:pt x="3510" y="7118"/>
                  </a:cubicBezTo>
                  <a:cubicBezTo>
                    <a:pt x="3682" y="7190"/>
                    <a:pt x="3583" y="7423"/>
                    <a:pt x="3424" y="7423"/>
                  </a:cubicBezTo>
                  <a:cubicBezTo>
                    <a:pt x="3398" y="7423"/>
                    <a:pt x="3371" y="7416"/>
                    <a:pt x="3342" y="7402"/>
                  </a:cubicBezTo>
                  <a:cubicBezTo>
                    <a:pt x="3163" y="7319"/>
                    <a:pt x="1429" y="6357"/>
                    <a:pt x="627" y="6357"/>
                  </a:cubicBezTo>
                  <a:cubicBezTo>
                    <a:pt x="459" y="6357"/>
                    <a:pt x="332" y="6399"/>
                    <a:pt x="268" y="6500"/>
                  </a:cubicBezTo>
                  <a:cubicBezTo>
                    <a:pt x="1" y="6951"/>
                    <a:pt x="2758" y="7586"/>
                    <a:pt x="3109" y="8171"/>
                  </a:cubicBezTo>
                  <a:cubicBezTo>
                    <a:pt x="3175" y="8278"/>
                    <a:pt x="3143" y="8320"/>
                    <a:pt x="3047" y="8320"/>
                  </a:cubicBezTo>
                  <a:cubicBezTo>
                    <a:pt x="2710" y="8320"/>
                    <a:pt x="1582" y="7811"/>
                    <a:pt x="1063" y="7811"/>
                  </a:cubicBezTo>
                  <a:cubicBezTo>
                    <a:pt x="944" y="7811"/>
                    <a:pt x="857" y="7838"/>
                    <a:pt x="819" y="7904"/>
                  </a:cubicBezTo>
                  <a:cubicBezTo>
                    <a:pt x="719" y="8054"/>
                    <a:pt x="686" y="8188"/>
                    <a:pt x="2173" y="8722"/>
                  </a:cubicBezTo>
                  <a:cubicBezTo>
                    <a:pt x="3259" y="9073"/>
                    <a:pt x="4362" y="9357"/>
                    <a:pt x="5464" y="9574"/>
                  </a:cubicBezTo>
                  <a:lnTo>
                    <a:pt x="5464" y="9591"/>
                  </a:lnTo>
                  <a:cubicBezTo>
                    <a:pt x="5464" y="9591"/>
                    <a:pt x="11725" y="12376"/>
                    <a:pt x="16913" y="12376"/>
                  </a:cubicBezTo>
                  <a:cubicBezTo>
                    <a:pt x="19507" y="12376"/>
                    <a:pt x="21833" y="11680"/>
                    <a:pt x="22975" y="9591"/>
                  </a:cubicBezTo>
                  <a:cubicBezTo>
                    <a:pt x="24278" y="7219"/>
                    <a:pt x="25398" y="4762"/>
                    <a:pt x="26317" y="2223"/>
                  </a:cubicBezTo>
                  <a:lnTo>
                    <a:pt x="21421" y="0"/>
                  </a:lnTo>
                  <a:close/>
                </a:path>
              </a:pathLst>
            </a:custGeom>
            <a:solidFill>
              <a:srgbClr val="AA75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8" name="Google Shape;1728;p40"/>
            <p:cNvSpPr/>
            <p:nvPr/>
          </p:nvSpPr>
          <p:spPr>
            <a:xfrm>
              <a:off x="8213761" y="2216677"/>
              <a:ext cx="259875" cy="354731"/>
            </a:xfrm>
            <a:custGeom>
              <a:avLst/>
              <a:gdLst/>
              <a:ahLst/>
              <a:cxnLst/>
              <a:rect l="l" t="t" r="r" b="b"/>
              <a:pathLst>
                <a:path w="8104" h="11062" extrusionOk="0">
                  <a:moveTo>
                    <a:pt x="3342" y="0"/>
                  </a:moveTo>
                  <a:lnTo>
                    <a:pt x="0" y="8488"/>
                  </a:lnTo>
                  <a:lnTo>
                    <a:pt x="5949" y="11061"/>
                  </a:lnTo>
                  <a:cubicBezTo>
                    <a:pt x="5949" y="11061"/>
                    <a:pt x="8104" y="2089"/>
                    <a:pt x="334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9" name="Google Shape;1729;p40"/>
            <p:cNvSpPr/>
            <p:nvPr/>
          </p:nvSpPr>
          <p:spPr>
            <a:xfrm>
              <a:off x="8185894" y="2223636"/>
              <a:ext cx="219181" cy="347772"/>
            </a:xfrm>
            <a:custGeom>
              <a:avLst/>
              <a:gdLst/>
              <a:ahLst/>
              <a:cxnLst/>
              <a:rect l="l" t="t" r="r" b="b"/>
              <a:pathLst>
                <a:path w="6835" h="10845" extrusionOk="0">
                  <a:moveTo>
                    <a:pt x="4495" y="0"/>
                  </a:moveTo>
                  <a:cubicBezTo>
                    <a:pt x="4328" y="0"/>
                    <a:pt x="4161" y="34"/>
                    <a:pt x="3994" y="101"/>
                  </a:cubicBezTo>
                  <a:cubicBezTo>
                    <a:pt x="3409" y="301"/>
                    <a:pt x="2924" y="702"/>
                    <a:pt x="2574" y="1220"/>
                  </a:cubicBezTo>
                  <a:cubicBezTo>
                    <a:pt x="2340" y="1571"/>
                    <a:pt x="2156" y="1955"/>
                    <a:pt x="2005" y="2356"/>
                  </a:cubicBezTo>
                  <a:cubicBezTo>
                    <a:pt x="1838" y="2774"/>
                    <a:pt x="1688" y="3242"/>
                    <a:pt x="1521" y="3710"/>
                  </a:cubicBezTo>
                  <a:cubicBezTo>
                    <a:pt x="1170" y="4679"/>
                    <a:pt x="802" y="5715"/>
                    <a:pt x="401" y="6834"/>
                  </a:cubicBezTo>
                  <a:cubicBezTo>
                    <a:pt x="268" y="7202"/>
                    <a:pt x="134" y="7569"/>
                    <a:pt x="17" y="7920"/>
                  </a:cubicBezTo>
                  <a:lnTo>
                    <a:pt x="0" y="7987"/>
                  </a:lnTo>
                  <a:lnTo>
                    <a:pt x="67" y="8020"/>
                  </a:lnTo>
                  <a:cubicBezTo>
                    <a:pt x="1955" y="8822"/>
                    <a:pt x="3643" y="9541"/>
                    <a:pt x="4863" y="10059"/>
                  </a:cubicBezTo>
                  <a:lnTo>
                    <a:pt x="6300" y="10644"/>
                  </a:lnTo>
                  <a:cubicBezTo>
                    <a:pt x="6450" y="10710"/>
                    <a:pt x="6584" y="10761"/>
                    <a:pt x="6684" y="10794"/>
                  </a:cubicBezTo>
                  <a:cubicBezTo>
                    <a:pt x="6734" y="10827"/>
                    <a:pt x="6784" y="10827"/>
                    <a:pt x="6818" y="10844"/>
                  </a:cubicBezTo>
                  <a:lnTo>
                    <a:pt x="6834" y="10844"/>
                  </a:lnTo>
                  <a:cubicBezTo>
                    <a:pt x="6784" y="10811"/>
                    <a:pt x="6751" y="10794"/>
                    <a:pt x="6701" y="10777"/>
                  </a:cubicBezTo>
                  <a:lnTo>
                    <a:pt x="6316" y="10593"/>
                  </a:lnTo>
                  <a:lnTo>
                    <a:pt x="4913" y="9959"/>
                  </a:lnTo>
                  <a:lnTo>
                    <a:pt x="186" y="7916"/>
                  </a:lnTo>
                  <a:lnTo>
                    <a:pt x="186" y="7916"/>
                  </a:lnTo>
                  <a:cubicBezTo>
                    <a:pt x="298" y="7582"/>
                    <a:pt x="425" y="7233"/>
                    <a:pt x="552" y="6884"/>
                  </a:cubicBezTo>
                  <a:cubicBezTo>
                    <a:pt x="936" y="5765"/>
                    <a:pt x="1304" y="4712"/>
                    <a:pt x="1655" y="3760"/>
                  </a:cubicBezTo>
                  <a:cubicBezTo>
                    <a:pt x="1822" y="3275"/>
                    <a:pt x="1955" y="2807"/>
                    <a:pt x="2122" y="2390"/>
                  </a:cubicBezTo>
                  <a:cubicBezTo>
                    <a:pt x="2256" y="2005"/>
                    <a:pt x="2440" y="1638"/>
                    <a:pt x="2674" y="1287"/>
                  </a:cubicBezTo>
                  <a:cubicBezTo>
                    <a:pt x="2991" y="769"/>
                    <a:pt x="3459" y="368"/>
                    <a:pt x="4027" y="151"/>
                  </a:cubicBezTo>
                  <a:cubicBezTo>
                    <a:pt x="4228" y="84"/>
                    <a:pt x="4445" y="34"/>
                    <a:pt x="466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30" name="Google Shape;1730;p40"/>
          <p:cNvGrpSpPr/>
          <p:nvPr/>
        </p:nvGrpSpPr>
        <p:grpSpPr>
          <a:xfrm>
            <a:off x="806191" y="1734895"/>
            <a:ext cx="1359886" cy="2949793"/>
            <a:chOff x="760216" y="1734895"/>
            <a:chExt cx="1359886" cy="2949793"/>
          </a:xfrm>
        </p:grpSpPr>
        <p:sp>
          <p:nvSpPr>
            <p:cNvPr id="1731" name="Google Shape;1731;p40"/>
            <p:cNvSpPr/>
            <p:nvPr/>
          </p:nvSpPr>
          <p:spPr>
            <a:xfrm>
              <a:off x="1079544" y="4617058"/>
              <a:ext cx="262569" cy="60415"/>
            </a:xfrm>
            <a:custGeom>
              <a:avLst/>
              <a:gdLst/>
              <a:ahLst/>
              <a:cxnLst/>
              <a:rect l="l" t="t" r="r" b="b"/>
              <a:pathLst>
                <a:path w="8188" h="1884" extrusionOk="0">
                  <a:moveTo>
                    <a:pt x="17" y="0"/>
                  </a:moveTo>
                  <a:lnTo>
                    <a:pt x="1" y="1688"/>
                  </a:lnTo>
                  <a:lnTo>
                    <a:pt x="268" y="1705"/>
                  </a:lnTo>
                  <a:cubicBezTo>
                    <a:pt x="1085" y="1760"/>
                    <a:pt x="3590" y="1884"/>
                    <a:pt x="5401" y="1884"/>
                  </a:cubicBezTo>
                  <a:cubicBezTo>
                    <a:pt x="6292" y="1884"/>
                    <a:pt x="7015" y="1854"/>
                    <a:pt x="7286" y="1771"/>
                  </a:cubicBezTo>
                  <a:cubicBezTo>
                    <a:pt x="8188" y="1504"/>
                    <a:pt x="4445" y="635"/>
                    <a:pt x="4445" y="635"/>
                  </a:cubicBezTo>
                  <a:lnTo>
                    <a:pt x="4462" y="217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2" name="Google Shape;1732;p40"/>
            <p:cNvSpPr/>
            <p:nvPr/>
          </p:nvSpPr>
          <p:spPr>
            <a:xfrm>
              <a:off x="1079544" y="4629308"/>
              <a:ext cx="51468" cy="40822"/>
            </a:xfrm>
            <a:custGeom>
              <a:avLst/>
              <a:gdLst/>
              <a:ahLst/>
              <a:cxnLst/>
              <a:rect l="l" t="t" r="r" b="b"/>
              <a:pathLst>
                <a:path w="1605" h="1273" extrusionOk="0">
                  <a:moveTo>
                    <a:pt x="87" y="1"/>
                  </a:moveTo>
                  <a:cubicBezTo>
                    <a:pt x="63" y="1"/>
                    <a:pt x="40" y="1"/>
                    <a:pt x="17" y="3"/>
                  </a:cubicBezTo>
                  <a:lnTo>
                    <a:pt x="1" y="1239"/>
                  </a:lnTo>
                  <a:lnTo>
                    <a:pt x="1605" y="1272"/>
                  </a:lnTo>
                  <a:cubicBezTo>
                    <a:pt x="1538" y="905"/>
                    <a:pt x="1337" y="571"/>
                    <a:pt x="1053" y="337"/>
                  </a:cubicBezTo>
                  <a:cubicBezTo>
                    <a:pt x="771" y="117"/>
                    <a:pt x="431" y="1"/>
                    <a:pt x="87" y="1"/>
                  </a:cubicBezTo>
                  <a:close/>
                </a:path>
              </a:pathLst>
            </a:custGeom>
            <a:solidFill>
              <a:schemeClr val="lt1">
                <a:alpha val="3348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3" name="Google Shape;1733;p40"/>
            <p:cNvSpPr/>
            <p:nvPr/>
          </p:nvSpPr>
          <p:spPr>
            <a:xfrm>
              <a:off x="1079544" y="4652942"/>
              <a:ext cx="243296" cy="24147"/>
            </a:xfrm>
            <a:custGeom>
              <a:avLst/>
              <a:gdLst/>
              <a:ahLst/>
              <a:cxnLst/>
              <a:rect l="l" t="t" r="r" b="b"/>
              <a:pathLst>
                <a:path w="7587" h="753" extrusionOk="0">
                  <a:moveTo>
                    <a:pt x="6283" y="1"/>
                  </a:moveTo>
                  <a:cubicBezTo>
                    <a:pt x="6016" y="17"/>
                    <a:pt x="5882" y="569"/>
                    <a:pt x="5882" y="569"/>
                  </a:cubicBezTo>
                  <a:lnTo>
                    <a:pt x="1" y="469"/>
                  </a:lnTo>
                  <a:lnTo>
                    <a:pt x="1" y="569"/>
                  </a:lnTo>
                  <a:cubicBezTo>
                    <a:pt x="1222" y="688"/>
                    <a:pt x="3292" y="752"/>
                    <a:pt x="4936" y="752"/>
                  </a:cubicBezTo>
                  <a:cubicBezTo>
                    <a:pt x="6283" y="752"/>
                    <a:pt x="7344" y="709"/>
                    <a:pt x="7419" y="619"/>
                  </a:cubicBezTo>
                  <a:cubicBezTo>
                    <a:pt x="7586" y="402"/>
                    <a:pt x="6283" y="1"/>
                    <a:pt x="6283" y="1"/>
                  </a:cubicBezTo>
                  <a:close/>
                </a:path>
              </a:pathLst>
            </a:custGeom>
            <a:solidFill>
              <a:schemeClr val="lt1">
                <a:alpha val="3348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4" name="Google Shape;1734;p40"/>
            <p:cNvSpPr/>
            <p:nvPr/>
          </p:nvSpPr>
          <p:spPr>
            <a:xfrm>
              <a:off x="1077396" y="4667404"/>
              <a:ext cx="237941" cy="4874"/>
            </a:xfrm>
            <a:custGeom>
              <a:avLst/>
              <a:gdLst/>
              <a:ahLst/>
              <a:cxnLst/>
              <a:rect l="l" t="t" r="r" b="b"/>
              <a:pathLst>
                <a:path w="7420" h="152" extrusionOk="0">
                  <a:moveTo>
                    <a:pt x="84" y="1"/>
                  </a:moveTo>
                  <a:cubicBezTo>
                    <a:pt x="51" y="1"/>
                    <a:pt x="34" y="1"/>
                    <a:pt x="1" y="18"/>
                  </a:cubicBezTo>
                  <a:lnTo>
                    <a:pt x="84" y="18"/>
                  </a:lnTo>
                  <a:lnTo>
                    <a:pt x="302" y="34"/>
                  </a:lnTo>
                  <a:lnTo>
                    <a:pt x="1104" y="84"/>
                  </a:lnTo>
                  <a:cubicBezTo>
                    <a:pt x="1772" y="101"/>
                    <a:pt x="2708" y="135"/>
                    <a:pt x="3744" y="151"/>
                  </a:cubicBezTo>
                  <a:cubicBezTo>
                    <a:pt x="4779" y="151"/>
                    <a:pt x="5715" y="151"/>
                    <a:pt x="6400" y="135"/>
                  </a:cubicBezTo>
                  <a:lnTo>
                    <a:pt x="7202" y="101"/>
                  </a:lnTo>
                  <a:cubicBezTo>
                    <a:pt x="7286" y="101"/>
                    <a:pt x="7353" y="101"/>
                    <a:pt x="7419" y="84"/>
                  </a:cubicBezTo>
                  <a:lnTo>
                    <a:pt x="6400" y="84"/>
                  </a:lnTo>
                  <a:cubicBezTo>
                    <a:pt x="5715" y="101"/>
                    <a:pt x="4779" y="101"/>
                    <a:pt x="3744" y="101"/>
                  </a:cubicBezTo>
                  <a:cubicBezTo>
                    <a:pt x="2708" y="84"/>
                    <a:pt x="1772" y="68"/>
                    <a:pt x="1104" y="34"/>
                  </a:cubicBezTo>
                  <a:cubicBezTo>
                    <a:pt x="786" y="34"/>
                    <a:pt x="519" y="18"/>
                    <a:pt x="302" y="18"/>
                  </a:cubicBezTo>
                  <a:lnTo>
                    <a:pt x="84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5" name="Google Shape;1735;p40"/>
            <p:cNvSpPr/>
            <p:nvPr/>
          </p:nvSpPr>
          <p:spPr>
            <a:xfrm>
              <a:off x="1267620" y="4651338"/>
              <a:ext cx="14495" cy="21998"/>
            </a:xfrm>
            <a:custGeom>
              <a:avLst/>
              <a:gdLst/>
              <a:ahLst/>
              <a:cxnLst/>
              <a:rect l="l" t="t" r="r" b="b"/>
              <a:pathLst>
                <a:path w="452" h="686" extrusionOk="0">
                  <a:moveTo>
                    <a:pt x="451" y="1"/>
                  </a:moveTo>
                  <a:lnTo>
                    <a:pt x="451" y="1"/>
                  </a:lnTo>
                  <a:cubicBezTo>
                    <a:pt x="184" y="118"/>
                    <a:pt x="0" y="385"/>
                    <a:pt x="17" y="686"/>
                  </a:cubicBezTo>
                  <a:cubicBezTo>
                    <a:pt x="67" y="418"/>
                    <a:pt x="234" y="168"/>
                    <a:pt x="45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6" name="Google Shape;1736;p40"/>
            <p:cNvSpPr/>
            <p:nvPr/>
          </p:nvSpPr>
          <p:spPr>
            <a:xfrm>
              <a:off x="1226349" y="4640082"/>
              <a:ext cx="8081" cy="11833"/>
            </a:xfrm>
            <a:custGeom>
              <a:avLst/>
              <a:gdLst/>
              <a:ahLst/>
              <a:cxnLst/>
              <a:rect l="l" t="t" r="r" b="b"/>
              <a:pathLst>
                <a:path w="252" h="369" extrusionOk="0">
                  <a:moveTo>
                    <a:pt x="251" y="1"/>
                  </a:moveTo>
                  <a:cubicBezTo>
                    <a:pt x="235" y="1"/>
                    <a:pt x="168" y="68"/>
                    <a:pt x="101" y="168"/>
                  </a:cubicBezTo>
                  <a:cubicBezTo>
                    <a:pt x="34" y="268"/>
                    <a:pt x="1" y="352"/>
                    <a:pt x="18" y="368"/>
                  </a:cubicBezTo>
                  <a:cubicBezTo>
                    <a:pt x="18" y="368"/>
                    <a:pt x="84" y="301"/>
                    <a:pt x="151" y="201"/>
                  </a:cubicBezTo>
                  <a:cubicBezTo>
                    <a:pt x="218" y="101"/>
                    <a:pt x="251" y="17"/>
                    <a:pt x="25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7" name="Google Shape;1737;p40"/>
            <p:cNvSpPr/>
            <p:nvPr/>
          </p:nvSpPr>
          <p:spPr>
            <a:xfrm>
              <a:off x="1215093" y="4637838"/>
              <a:ext cx="9139" cy="7760"/>
            </a:xfrm>
            <a:custGeom>
              <a:avLst/>
              <a:gdLst/>
              <a:ahLst/>
              <a:cxnLst/>
              <a:rect l="l" t="t" r="r" b="b"/>
              <a:pathLst>
                <a:path w="285" h="242" extrusionOk="0">
                  <a:moveTo>
                    <a:pt x="276" y="1"/>
                  </a:moveTo>
                  <a:cubicBezTo>
                    <a:pt x="250" y="1"/>
                    <a:pt x="190" y="46"/>
                    <a:pt x="118" y="104"/>
                  </a:cubicBezTo>
                  <a:cubicBezTo>
                    <a:pt x="51" y="171"/>
                    <a:pt x="1" y="238"/>
                    <a:pt x="1" y="238"/>
                  </a:cubicBezTo>
                  <a:cubicBezTo>
                    <a:pt x="3" y="240"/>
                    <a:pt x="6" y="241"/>
                    <a:pt x="10" y="241"/>
                  </a:cubicBezTo>
                  <a:cubicBezTo>
                    <a:pt x="35" y="241"/>
                    <a:pt x="95" y="196"/>
                    <a:pt x="168" y="138"/>
                  </a:cubicBezTo>
                  <a:cubicBezTo>
                    <a:pt x="235" y="71"/>
                    <a:pt x="285" y="4"/>
                    <a:pt x="285" y="4"/>
                  </a:cubicBezTo>
                  <a:cubicBezTo>
                    <a:pt x="283" y="2"/>
                    <a:pt x="280" y="1"/>
                    <a:pt x="27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8" name="Google Shape;1738;p40"/>
            <p:cNvSpPr/>
            <p:nvPr/>
          </p:nvSpPr>
          <p:spPr>
            <a:xfrm>
              <a:off x="1205986" y="4622958"/>
              <a:ext cx="16643" cy="2405"/>
            </a:xfrm>
            <a:custGeom>
              <a:avLst/>
              <a:gdLst/>
              <a:ahLst/>
              <a:cxnLst/>
              <a:rect l="l" t="t" r="r" b="b"/>
              <a:pathLst>
                <a:path w="519" h="75" extrusionOk="0">
                  <a:moveTo>
                    <a:pt x="1" y="0"/>
                  </a:moveTo>
                  <a:cubicBezTo>
                    <a:pt x="88" y="49"/>
                    <a:pt x="187" y="75"/>
                    <a:pt x="291" y="75"/>
                  </a:cubicBezTo>
                  <a:cubicBezTo>
                    <a:pt x="365" y="75"/>
                    <a:pt x="442" y="61"/>
                    <a:pt x="519" y="33"/>
                  </a:cubicBezTo>
                  <a:cubicBezTo>
                    <a:pt x="435" y="17"/>
                    <a:pt x="335" y="17"/>
                    <a:pt x="252" y="17"/>
                  </a:cubicBezTo>
                  <a:cubicBezTo>
                    <a:pt x="168" y="0"/>
                    <a:pt x="84" y="0"/>
                    <a:pt x="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9" name="Google Shape;1739;p40"/>
            <p:cNvSpPr/>
            <p:nvPr/>
          </p:nvSpPr>
          <p:spPr>
            <a:xfrm>
              <a:off x="1231704" y="4626999"/>
              <a:ext cx="26840" cy="14719"/>
            </a:xfrm>
            <a:custGeom>
              <a:avLst/>
              <a:gdLst/>
              <a:ahLst/>
              <a:cxnLst/>
              <a:rect l="l" t="t" r="r" b="b"/>
              <a:pathLst>
                <a:path w="837" h="459" extrusionOk="0">
                  <a:moveTo>
                    <a:pt x="568" y="51"/>
                  </a:moveTo>
                  <a:cubicBezTo>
                    <a:pt x="632" y="51"/>
                    <a:pt x="698" y="64"/>
                    <a:pt x="753" y="91"/>
                  </a:cubicBezTo>
                  <a:cubicBezTo>
                    <a:pt x="803" y="125"/>
                    <a:pt x="769" y="191"/>
                    <a:pt x="719" y="208"/>
                  </a:cubicBezTo>
                  <a:cubicBezTo>
                    <a:pt x="669" y="242"/>
                    <a:pt x="619" y="258"/>
                    <a:pt x="569" y="275"/>
                  </a:cubicBezTo>
                  <a:cubicBezTo>
                    <a:pt x="469" y="308"/>
                    <a:pt x="368" y="342"/>
                    <a:pt x="268" y="359"/>
                  </a:cubicBezTo>
                  <a:cubicBezTo>
                    <a:pt x="185" y="367"/>
                    <a:pt x="119" y="371"/>
                    <a:pt x="73" y="375"/>
                  </a:cubicBezTo>
                  <a:lnTo>
                    <a:pt x="73" y="375"/>
                  </a:lnTo>
                  <a:cubicBezTo>
                    <a:pt x="101" y="321"/>
                    <a:pt x="135" y="269"/>
                    <a:pt x="168" y="225"/>
                  </a:cubicBezTo>
                  <a:cubicBezTo>
                    <a:pt x="235" y="158"/>
                    <a:pt x="318" y="91"/>
                    <a:pt x="419" y="75"/>
                  </a:cubicBezTo>
                  <a:cubicBezTo>
                    <a:pt x="464" y="60"/>
                    <a:pt x="515" y="51"/>
                    <a:pt x="568" y="51"/>
                  </a:cubicBezTo>
                  <a:close/>
                  <a:moveTo>
                    <a:pt x="554" y="0"/>
                  </a:moveTo>
                  <a:cubicBezTo>
                    <a:pt x="394" y="0"/>
                    <a:pt x="235" y="75"/>
                    <a:pt x="135" y="208"/>
                  </a:cubicBezTo>
                  <a:cubicBezTo>
                    <a:pt x="104" y="255"/>
                    <a:pt x="73" y="315"/>
                    <a:pt x="55" y="377"/>
                  </a:cubicBezTo>
                  <a:lnTo>
                    <a:pt x="55" y="377"/>
                  </a:lnTo>
                  <a:cubicBezTo>
                    <a:pt x="20" y="381"/>
                    <a:pt x="1" y="385"/>
                    <a:pt x="1" y="392"/>
                  </a:cubicBezTo>
                  <a:cubicBezTo>
                    <a:pt x="15" y="395"/>
                    <a:pt x="30" y="397"/>
                    <a:pt x="45" y="399"/>
                  </a:cubicBezTo>
                  <a:lnTo>
                    <a:pt x="45" y="399"/>
                  </a:lnTo>
                  <a:cubicBezTo>
                    <a:pt x="34" y="417"/>
                    <a:pt x="34" y="444"/>
                    <a:pt x="34" y="459"/>
                  </a:cubicBezTo>
                  <a:cubicBezTo>
                    <a:pt x="42" y="439"/>
                    <a:pt x="51" y="420"/>
                    <a:pt x="60" y="401"/>
                  </a:cubicBezTo>
                  <a:lnTo>
                    <a:pt x="60" y="401"/>
                  </a:lnTo>
                  <a:cubicBezTo>
                    <a:pt x="85" y="403"/>
                    <a:pt x="110" y="405"/>
                    <a:pt x="137" y="405"/>
                  </a:cubicBezTo>
                  <a:cubicBezTo>
                    <a:pt x="185" y="405"/>
                    <a:pt x="235" y="400"/>
                    <a:pt x="285" y="392"/>
                  </a:cubicBezTo>
                  <a:cubicBezTo>
                    <a:pt x="385" y="375"/>
                    <a:pt x="485" y="359"/>
                    <a:pt x="586" y="325"/>
                  </a:cubicBezTo>
                  <a:cubicBezTo>
                    <a:pt x="636" y="308"/>
                    <a:pt x="703" y="292"/>
                    <a:pt x="753" y="258"/>
                  </a:cubicBezTo>
                  <a:cubicBezTo>
                    <a:pt x="786" y="242"/>
                    <a:pt x="820" y="208"/>
                    <a:pt x="820" y="175"/>
                  </a:cubicBezTo>
                  <a:cubicBezTo>
                    <a:pt x="836" y="125"/>
                    <a:pt x="820" y="75"/>
                    <a:pt x="786" y="58"/>
                  </a:cubicBezTo>
                  <a:cubicBezTo>
                    <a:pt x="714" y="19"/>
                    <a:pt x="634" y="0"/>
                    <a:pt x="55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0" name="Google Shape;1740;p40"/>
            <p:cNvSpPr/>
            <p:nvPr/>
          </p:nvSpPr>
          <p:spPr>
            <a:xfrm>
              <a:off x="1222084" y="4622413"/>
              <a:ext cx="13404" cy="17701"/>
            </a:xfrm>
            <a:custGeom>
              <a:avLst/>
              <a:gdLst/>
              <a:ahLst/>
              <a:cxnLst/>
              <a:rect l="l" t="t" r="r" b="b"/>
              <a:pathLst>
                <a:path w="418" h="552" extrusionOk="0">
                  <a:moveTo>
                    <a:pt x="100" y="0"/>
                  </a:moveTo>
                  <a:cubicBezTo>
                    <a:pt x="34" y="17"/>
                    <a:pt x="0" y="67"/>
                    <a:pt x="0" y="134"/>
                  </a:cubicBezTo>
                  <a:cubicBezTo>
                    <a:pt x="17" y="167"/>
                    <a:pt x="34" y="218"/>
                    <a:pt x="50" y="251"/>
                  </a:cubicBezTo>
                  <a:cubicBezTo>
                    <a:pt x="84" y="318"/>
                    <a:pt x="134" y="368"/>
                    <a:pt x="184" y="435"/>
                  </a:cubicBezTo>
                  <a:cubicBezTo>
                    <a:pt x="234" y="485"/>
                    <a:pt x="284" y="518"/>
                    <a:pt x="351" y="535"/>
                  </a:cubicBezTo>
                  <a:cubicBezTo>
                    <a:pt x="351" y="535"/>
                    <a:pt x="284" y="485"/>
                    <a:pt x="217" y="401"/>
                  </a:cubicBezTo>
                  <a:cubicBezTo>
                    <a:pt x="167" y="351"/>
                    <a:pt x="134" y="284"/>
                    <a:pt x="100" y="234"/>
                  </a:cubicBezTo>
                  <a:cubicBezTo>
                    <a:pt x="50" y="167"/>
                    <a:pt x="34" y="67"/>
                    <a:pt x="100" y="50"/>
                  </a:cubicBezTo>
                  <a:cubicBezTo>
                    <a:pt x="167" y="50"/>
                    <a:pt x="251" y="117"/>
                    <a:pt x="284" y="167"/>
                  </a:cubicBezTo>
                  <a:cubicBezTo>
                    <a:pt x="334" y="234"/>
                    <a:pt x="351" y="284"/>
                    <a:pt x="368" y="351"/>
                  </a:cubicBezTo>
                  <a:cubicBezTo>
                    <a:pt x="368" y="418"/>
                    <a:pt x="368" y="485"/>
                    <a:pt x="368" y="552"/>
                  </a:cubicBezTo>
                  <a:cubicBezTo>
                    <a:pt x="401" y="485"/>
                    <a:pt x="418" y="418"/>
                    <a:pt x="401" y="351"/>
                  </a:cubicBezTo>
                  <a:cubicBezTo>
                    <a:pt x="401" y="284"/>
                    <a:pt x="368" y="201"/>
                    <a:pt x="334" y="151"/>
                  </a:cubicBezTo>
                  <a:cubicBezTo>
                    <a:pt x="284" y="50"/>
                    <a:pt x="184" y="0"/>
                    <a:pt x="10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741;p40"/>
            <p:cNvSpPr/>
            <p:nvPr/>
          </p:nvSpPr>
          <p:spPr>
            <a:xfrm>
              <a:off x="1080634" y="4628314"/>
              <a:ext cx="50378" cy="41271"/>
            </a:xfrm>
            <a:custGeom>
              <a:avLst/>
              <a:gdLst/>
              <a:ahLst/>
              <a:cxnLst/>
              <a:rect l="l" t="t" r="r" b="b"/>
              <a:pathLst>
                <a:path w="1571" h="1287" extrusionOk="0">
                  <a:moveTo>
                    <a:pt x="100" y="0"/>
                  </a:moveTo>
                  <a:cubicBezTo>
                    <a:pt x="67" y="0"/>
                    <a:pt x="33" y="17"/>
                    <a:pt x="0" y="17"/>
                  </a:cubicBezTo>
                  <a:cubicBezTo>
                    <a:pt x="0" y="25"/>
                    <a:pt x="33" y="25"/>
                    <a:pt x="92" y="25"/>
                  </a:cubicBezTo>
                  <a:cubicBezTo>
                    <a:pt x="150" y="25"/>
                    <a:pt x="234" y="25"/>
                    <a:pt x="334" y="34"/>
                  </a:cubicBezTo>
                  <a:cubicBezTo>
                    <a:pt x="869" y="100"/>
                    <a:pt x="1303" y="468"/>
                    <a:pt x="1487" y="969"/>
                  </a:cubicBezTo>
                  <a:cubicBezTo>
                    <a:pt x="1537" y="1153"/>
                    <a:pt x="1554" y="1287"/>
                    <a:pt x="1554" y="1287"/>
                  </a:cubicBezTo>
                  <a:cubicBezTo>
                    <a:pt x="1571" y="1253"/>
                    <a:pt x="1571" y="1220"/>
                    <a:pt x="1554" y="1203"/>
                  </a:cubicBezTo>
                  <a:cubicBezTo>
                    <a:pt x="1554" y="1120"/>
                    <a:pt x="1537" y="1036"/>
                    <a:pt x="1521" y="952"/>
                  </a:cubicBezTo>
                  <a:cubicBezTo>
                    <a:pt x="1353" y="418"/>
                    <a:pt x="886" y="50"/>
                    <a:pt x="33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2" name="Google Shape;1742;p40"/>
            <p:cNvSpPr/>
            <p:nvPr/>
          </p:nvSpPr>
          <p:spPr>
            <a:xfrm>
              <a:off x="1148682" y="4656533"/>
              <a:ext cx="41271" cy="2501"/>
            </a:xfrm>
            <a:custGeom>
              <a:avLst/>
              <a:gdLst/>
              <a:ahLst/>
              <a:cxnLst/>
              <a:rect l="l" t="t" r="r" b="b"/>
              <a:pathLst>
                <a:path w="1287" h="78" extrusionOk="0">
                  <a:moveTo>
                    <a:pt x="34" y="1"/>
                  </a:moveTo>
                  <a:cubicBezTo>
                    <a:pt x="12" y="1"/>
                    <a:pt x="0" y="2"/>
                    <a:pt x="0" y="6"/>
                  </a:cubicBezTo>
                  <a:cubicBezTo>
                    <a:pt x="239" y="52"/>
                    <a:pt x="477" y="77"/>
                    <a:pt x="713" y="77"/>
                  </a:cubicBezTo>
                  <a:cubicBezTo>
                    <a:pt x="907" y="77"/>
                    <a:pt x="1098" y="60"/>
                    <a:pt x="1287" y="22"/>
                  </a:cubicBezTo>
                  <a:cubicBezTo>
                    <a:pt x="1287" y="17"/>
                    <a:pt x="1255" y="15"/>
                    <a:pt x="1200" y="15"/>
                  </a:cubicBezTo>
                  <a:cubicBezTo>
                    <a:pt x="1090" y="15"/>
                    <a:pt x="886" y="22"/>
                    <a:pt x="652" y="22"/>
                  </a:cubicBezTo>
                  <a:cubicBezTo>
                    <a:pt x="371" y="22"/>
                    <a:pt x="122" y="1"/>
                    <a:pt x="3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3" name="Google Shape;1743;p40"/>
            <p:cNvSpPr/>
            <p:nvPr/>
          </p:nvSpPr>
          <p:spPr>
            <a:xfrm>
              <a:off x="1120815" y="4656148"/>
              <a:ext cx="4842" cy="8626"/>
            </a:xfrm>
            <a:custGeom>
              <a:avLst/>
              <a:gdLst/>
              <a:ahLst/>
              <a:cxnLst/>
              <a:rect l="l" t="t" r="r" b="b"/>
              <a:pathLst>
                <a:path w="151" h="269" extrusionOk="0">
                  <a:moveTo>
                    <a:pt x="0" y="1"/>
                  </a:moveTo>
                  <a:cubicBezTo>
                    <a:pt x="0" y="18"/>
                    <a:pt x="34" y="68"/>
                    <a:pt x="67" y="135"/>
                  </a:cubicBezTo>
                  <a:cubicBezTo>
                    <a:pt x="84" y="201"/>
                    <a:pt x="100" y="268"/>
                    <a:pt x="117" y="268"/>
                  </a:cubicBezTo>
                  <a:cubicBezTo>
                    <a:pt x="134" y="268"/>
                    <a:pt x="151" y="185"/>
                    <a:pt x="117" y="118"/>
                  </a:cubicBezTo>
                  <a:cubicBezTo>
                    <a:pt x="67" y="34"/>
                    <a:pt x="17" y="1"/>
                    <a:pt x="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4" name="Google Shape;1744;p40"/>
            <p:cNvSpPr/>
            <p:nvPr/>
          </p:nvSpPr>
          <p:spPr>
            <a:xfrm>
              <a:off x="1110617" y="4643161"/>
              <a:ext cx="5932" cy="5676"/>
            </a:xfrm>
            <a:custGeom>
              <a:avLst/>
              <a:gdLst/>
              <a:ahLst/>
              <a:cxnLst/>
              <a:rect l="l" t="t" r="r" b="b"/>
              <a:pathLst>
                <a:path w="185" h="177" extrusionOk="0">
                  <a:moveTo>
                    <a:pt x="12" y="1"/>
                  </a:moveTo>
                  <a:cubicBezTo>
                    <a:pt x="8" y="1"/>
                    <a:pt x="4" y="2"/>
                    <a:pt x="1" y="5"/>
                  </a:cubicBezTo>
                  <a:cubicBezTo>
                    <a:pt x="1" y="22"/>
                    <a:pt x="17" y="55"/>
                    <a:pt x="68" y="105"/>
                  </a:cubicBezTo>
                  <a:cubicBezTo>
                    <a:pt x="109" y="146"/>
                    <a:pt x="139" y="176"/>
                    <a:pt x="157" y="176"/>
                  </a:cubicBezTo>
                  <a:cubicBezTo>
                    <a:pt x="161" y="176"/>
                    <a:pt x="165" y="175"/>
                    <a:pt x="168" y="172"/>
                  </a:cubicBezTo>
                  <a:cubicBezTo>
                    <a:pt x="185" y="172"/>
                    <a:pt x="151" y="122"/>
                    <a:pt x="101" y="72"/>
                  </a:cubicBezTo>
                  <a:cubicBezTo>
                    <a:pt x="73" y="31"/>
                    <a:pt x="35" y="1"/>
                    <a:pt x="1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5" name="Google Shape;1745;p40"/>
            <p:cNvSpPr/>
            <p:nvPr/>
          </p:nvSpPr>
          <p:spPr>
            <a:xfrm>
              <a:off x="1095610" y="4636427"/>
              <a:ext cx="8626" cy="3688"/>
            </a:xfrm>
            <a:custGeom>
              <a:avLst/>
              <a:gdLst/>
              <a:ahLst/>
              <a:cxnLst/>
              <a:rect l="l" t="t" r="r" b="b"/>
              <a:pathLst>
                <a:path w="269" h="115" extrusionOk="0">
                  <a:moveTo>
                    <a:pt x="80" y="0"/>
                  </a:moveTo>
                  <a:cubicBezTo>
                    <a:pt x="33" y="0"/>
                    <a:pt x="1" y="20"/>
                    <a:pt x="1" y="31"/>
                  </a:cubicBezTo>
                  <a:cubicBezTo>
                    <a:pt x="18" y="48"/>
                    <a:pt x="68" y="48"/>
                    <a:pt x="135" y="65"/>
                  </a:cubicBezTo>
                  <a:cubicBezTo>
                    <a:pt x="201" y="81"/>
                    <a:pt x="252" y="115"/>
                    <a:pt x="252" y="115"/>
                  </a:cubicBezTo>
                  <a:cubicBezTo>
                    <a:pt x="268" y="98"/>
                    <a:pt x="235" y="48"/>
                    <a:pt x="151" y="14"/>
                  </a:cubicBezTo>
                  <a:cubicBezTo>
                    <a:pt x="125" y="4"/>
                    <a:pt x="101" y="0"/>
                    <a:pt x="8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6" name="Google Shape;1746;p40"/>
            <p:cNvSpPr/>
            <p:nvPr/>
          </p:nvSpPr>
          <p:spPr>
            <a:xfrm>
              <a:off x="1084899" y="4633797"/>
              <a:ext cx="4874" cy="2437"/>
            </a:xfrm>
            <a:custGeom>
              <a:avLst/>
              <a:gdLst/>
              <a:ahLst/>
              <a:cxnLst/>
              <a:rect l="l" t="t" r="r" b="b"/>
              <a:pathLst>
                <a:path w="152" h="76" extrusionOk="0">
                  <a:moveTo>
                    <a:pt x="38" y="0"/>
                  </a:moveTo>
                  <a:cubicBezTo>
                    <a:pt x="26" y="0"/>
                    <a:pt x="17" y="5"/>
                    <a:pt x="17" y="13"/>
                  </a:cubicBezTo>
                  <a:cubicBezTo>
                    <a:pt x="1" y="30"/>
                    <a:pt x="34" y="46"/>
                    <a:pt x="68" y="63"/>
                  </a:cubicBezTo>
                  <a:cubicBezTo>
                    <a:pt x="84" y="71"/>
                    <a:pt x="101" y="76"/>
                    <a:pt x="114" y="76"/>
                  </a:cubicBezTo>
                  <a:cubicBezTo>
                    <a:pt x="126" y="76"/>
                    <a:pt x="134" y="71"/>
                    <a:pt x="134" y="63"/>
                  </a:cubicBezTo>
                  <a:cubicBezTo>
                    <a:pt x="151" y="63"/>
                    <a:pt x="118" y="30"/>
                    <a:pt x="84" y="13"/>
                  </a:cubicBezTo>
                  <a:cubicBezTo>
                    <a:pt x="68" y="5"/>
                    <a:pt x="51" y="0"/>
                    <a:pt x="3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7" name="Google Shape;1747;p40"/>
            <p:cNvSpPr/>
            <p:nvPr/>
          </p:nvSpPr>
          <p:spPr>
            <a:xfrm>
              <a:off x="1248315" y="4620265"/>
              <a:ext cx="263114" cy="64424"/>
            </a:xfrm>
            <a:custGeom>
              <a:avLst/>
              <a:gdLst/>
              <a:ahLst/>
              <a:cxnLst/>
              <a:rect l="l" t="t" r="r" b="b"/>
              <a:pathLst>
                <a:path w="8205" h="2009" extrusionOk="0">
                  <a:moveTo>
                    <a:pt x="68" y="0"/>
                  </a:moveTo>
                  <a:lnTo>
                    <a:pt x="1" y="1671"/>
                  </a:lnTo>
                  <a:lnTo>
                    <a:pt x="285" y="1705"/>
                  </a:lnTo>
                  <a:cubicBezTo>
                    <a:pt x="1212" y="1782"/>
                    <a:pt x="4385" y="2008"/>
                    <a:pt x="6164" y="2008"/>
                  </a:cubicBezTo>
                  <a:cubicBezTo>
                    <a:pt x="6693" y="2008"/>
                    <a:pt x="7098" y="1988"/>
                    <a:pt x="7286" y="1939"/>
                  </a:cubicBezTo>
                  <a:cubicBezTo>
                    <a:pt x="8205" y="1688"/>
                    <a:pt x="4479" y="719"/>
                    <a:pt x="4479" y="719"/>
                  </a:cubicBezTo>
                  <a:lnTo>
                    <a:pt x="4495" y="318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8" name="Google Shape;1748;p40"/>
            <p:cNvSpPr/>
            <p:nvPr/>
          </p:nvSpPr>
          <p:spPr>
            <a:xfrm>
              <a:off x="1248860" y="4632547"/>
              <a:ext cx="50923" cy="41880"/>
            </a:xfrm>
            <a:custGeom>
              <a:avLst/>
              <a:gdLst/>
              <a:ahLst/>
              <a:cxnLst/>
              <a:rect l="l" t="t" r="r" b="b"/>
              <a:pathLst>
                <a:path w="1588" h="1306" extrusionOk="0">
                  <a:moveTo>
                    <a:pt x="103" y="0"/>
                  </a:moveTo>
                  <a:cubicBezTo>
                    <a:pt x="80" y="0"/>
                    <a:pt x="57" y="1"/>
                    <a:pt x="34" y="2"/>
                  </a:cubicBezTo>
                  <a:lnTo>
                    <a:pt x="1" y="1222"/>
                  </a:lnTo>
                  <a:lnTo>
                    <a:pt x="1588" y="1305"/>
                  </a:lnTo>
                  <a:cubicBezTo>
                    <a:pt x="1538" y="937"/>
                    <a:pt x="1337" y="587"/>
                    <a:pt x="1053" y="353"/>
                  </a:cubicBezTo>
                  <a:cubicBezTo>
                    <a:pt x="787" y="118"/>
                    <a:pt x="447" y="0"/>
                    <a:pt x="103" y="0"/>
                  </a:cubicBezTo>
                  <a:close/>
                </a:path>
              </a:pathLst>
            </a:custGeom>
            <a:solidFill>
              <a:schemeClr val="lt1">
                <a:alpha val="3348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9" name="Google Shape;1749;p40"/>
            <p:cNvSpPr/>
            <p:nvPr/>
          </p:nvSpPr>
          <p:spPr>
            <a:xfrm>
              <a:off x="1248315" y="4660990"/>
              <a:ext cx="243841" cy="23057"/>
            </a:xfrm>
            <a:custGeom>
              <a:avLst/>
              <a:gdLst/>
              <a:ahLst/>
              <a:cxnLst/>
              <a:rect l="l" t="t" r="r" b="b"/>
              <a:pathLst>
                <a:path w="7604" h="719" extrusionOk="0">
                  <a:moveTo>
                    <a:pt x="6300" y="0"/>
                  </a:moveTo>
                  <a:cubicBezTo>
                    <a:pt x="6033" y="0"/>
                    <a:pt x="5882" y="552"/>
                    <a:pt x="5882" y="552"/>
                  </a:cubicBezTo>
                  <a:lnTo>
                    <a:pt x="18" y="301"/>
                  </a:lnTo>
                  <a:lnTo>
                    <a:pt x="1" y="401"/>
                  </a:lnTo>
                  <a:cubicBezTo>
                    <a:pt x="1511" y="583"/>
                    <a:pt x="4316" y="718"/>
                    <a:pt x="6012" y="718"/>
                  </a:cubicBezTo>
                  <a:cubicBezTo>
                    <a:pt x="6813" y="718"/>
                    <a:pt x="7366" y="688"/>
                    <a:pt x="7419" y="619"/>
                  </a:cubicBezTo>
                  <a:cubicBezTo>
                    <a:pt x="7603" y="418"/>
                    <a:pt x="6300" y="0"/>
                    <a:pt x="6300" y="0"/>
                  </a:cubicBezTo>
                  <a:close/>
                </a:path>
              </a:pathLst>
            </a:custGeom>
            <a:solidFill>
              <a:schemeClr val="lt1">
                <a:alpha val="3348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0" name="Google Shape;1750;p40"/>
            <p:cNvSpPr/>
            <p:nvPr/>
          </p:nvSpPr>
          <p:spPr>
            <a:xfrm>
              <a:off x="1246712" y="4670643"/>
              <a:ext cx="237396" cy="8594"/>
            </a:xfrm>
            <a:custGeom>
              <a:avLst/>
              <a:gdLst/>
              <a:ahLst/>
              <a:cxnLst/>
              <a:rect l="l" t="t" r="r" b="b"/>
              <a:pathLst>
                <a:path w="7403" h="268" extrusionOk="0">
                  <a:moveTo>
                    <a:pt x="1" y="0"/>
                  </a:moveTo>
                  <a:cubicBezTo>
                    <a:pt x="17" y="0"/>
                    <a:pt x="51" y="17"/>
                    <a:pt x="68" y="17"/>
                  </a:cubicBezTo>
                  <a:lnTo>
                    <a:pt x="285" y="34"/>
                  </a:lnTo>
                  <a:cubicBezTo>
                    <a:pt x="502" y="50"/>
                    <a:pt x="769" y="67"/>
                    <a:pt x="1087" y="84"/>
                  </a:cubicBezTo>
                  <a:cubicBezTo>
                    <a:pt x="1772" y="134"/>
                    <a:pt x="2708" y="184"/>
                    <a:pt x="3727" y="217"/>
                  </a:cubicBezTo>
                  <a:cubicBezTo>
                    <a:pt x="4763" y="267"/>
                    <a:pt x="5698" y="267"/>
                    <a:pt x="6383" y="267"/>
                  </a:cubicBezTo>
                  <a:lnTo>
                    <a:pt x="7185" y="267"/>
                  </a:lnTo>
                  <a:lnTo>
                    <a:pt x="7403" y="251"/>
                  </a:lnTo>
                  <a:lnTo>
                    <a:pt x="7185" y="234"/>
                  </a:lnTo>
                  <a:lnTo>
                    <a:pt x="6383" y="234"/>
                  </a:lnTo>
                  <a:cubicBezTo>
                    <a:pt x="5698" y="217"/>
                    <a:pt x="4763" y="201"/>
                    <a:pt x="3743" y="167"/>
                  </a:cubicBezTo>
                  <a:cubicBezTo>
                    <a:pt x="2708" y="134"/>
                    <a:pt x="1772" y="84"/>
                    <a:pt x="1087" y="50"/>
                  </a:cubicBezTo>
                  <a:lnTo>
                    <a:pt x="285" y="17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1" name="Google Shape;1751;p40"/>
            <p:cNvSpPr/>
            <p:nvPr/>
          </p:nvSpPr>
          <p:spPr>
            <a:xfrm>
              <a:off x="1436936" y="4658842"/>
              <a:ext cx="14495" cy="21998"/>
            </a:xfrm>
            <a:custGeom>
              <a:avLst/>
              <a:gdLst/>
              <a:ahLst/>
              <a:cxnLst/>
              <a:rect l="l" t="t" r="r" b="b"/>
              <a:pathLst>
                <a:path w="452" h="686" extrusionOk="0">
                  <a:moveTo>
                    <a:pt x="451" y="0"/>
                  </a:moveTo>
                  <a:cubicBezTo>
                    <a:pt x="167" y="117"/>
                    <a:pt x="0" y="385"/>
                    <a:pt x="0" y="686"/>
                  </a:cubicBezTo>
                  <a:cubicBezTo>
                    <a:pt x="34" y="552"/>
                    <a:pt x="101" y="418"/>
                    <a:pt x="167" y="301"/>
                  </a:cubicBezTo>
                  <a:cubicBezTo>
                    <a:pt x="251" y="201"/>
                    <a:pt x="334" y="101"/>
                    <a:pt x="45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2" name="Google Shape;1752;p40"/>
            <p:cNvSpPr/>
            <p:nvPr/>
          </p:nvSpPr>
          <p:spPr>
            <a:xfrm>
              <a:off x="1395665" y="4646528"/>
              <a:ext cx="8626" cy="11801"/>
            </a:xfrm>
            <a:custGeom>
              <a:avLst/>
              <a:gdLst/>
              <a:ahLst/>
              <a:cxnLst/>
              <a:rect l="l" t="t" r="r" b="b"/>
              <a:pathLst>
                <a:path w="269" h="368" extrusionOk="0">
                  <a:moveTo>
                    <a:pt x="251" y="0"/>
                  </a:moveTo>
                  <a:cubicBezTo>
                    <a:pt x="235" y="0"/>
                    <a:pt x="185" y="67"/>
                    <a:pt x="118" y="167"/>
                  </a:cubicBezTo>
                  <a:cubicBezTo>
                    <a:pt x="34" y="268"/>
                    <a:pt x="1" y="351"/>
                    <a:pt x="17" y="368"/>
                  </a:cubicBezTo>
                  <a:cubicBezTo>
                    <a:pt x="17" y="368"/>
                    <a:pt x="84" y="301"/>
                    <a:pt x="151" y="201"/>
                  </a:cubicBezTo>
                  <a:cubicBezTo>
                    <a:pt x="218" y="100"/>
                    <a:pt x="268" y="17"/>
                    <a:pt x="25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753;p40"/>
            <p:cNvSpPr/>
            <p:nvPr/>
          </p:nvSpPr>
          <p:spPr>
            <a:xfrm>
              <a:off x="1384410" y="4644283"/>
              <a:ext cx="9684" cy="7632"/>
            </a:xfrm>
            <a:custGeom>
              <a:avLst/>
              <a:gdLst/>
              <a:ahLst/>
              <a:cxnLst/>
              <a:rect l="l" t="t" r="r" b="b"/>
              <a:pathLst>
                <a:path w="302" h="238" extrusionOk="0">
                  <a:moveTo>
                    <a:pt x="281" y="0"/>
                  </a:moveTo>
                  <a:cubicBezTo>
                    <a:pt x="267" y="0"/>
                    <a:pt x="207" y="44"/>
                    <a:pt x="134" y="87"/>
                  </a:cubicBezTo>
                  <a:cubicBezTo>
                    <a:pt x="51" y="154"/>
                    <a:pt x="1" y="221"/>
                    <a:pt x="1" y="237"/>
                  </a:cubicBezTo>
                  <a:cubicBezTo>
                    <a:pt x="18" y="237"/>
                    <a:pt x="84" y="204"/>
                    <a:pt x="168" y="137"/>
                  </a:cubicBezTo>
                  <a:cubicBezTo>
                    <a:pt x="251" y="70"/>
                    <a:pt x="302" y="3"/>
                    <a:pt x="285" y="3"/>
                  </a:cubicBezTo>
                  <a:cubicBezTo>
                    <a:pt x="285" y="1"/>
                    <a:pt x="284" y="0"/>
                    <a:pt x="28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4" name="Google Shape;1754;p40"/>
            <p:cNvSpPr/>
            <p:nvPr/>
          </p:nvSpPr>
          <p:spPr>
            <a:xfrm>
              <a:off x="1375848" y="4628827"/>
              <a:ext cx="16643" cy="2565"/>
            </a:xfrm>
            <a:custGeom>
              <a:avLst/>
              <a:gdLst/>
              <a:ahLst/>
              <a:cxnLst/>
              <a:rect l="l" t="t" r="r" b="b"/>
              <a:pathLst>
                <a:path w="519" h="80" extrusionOk="0">
                  <a:moveTo>
                    <a:pt x="0" y="1"/>
                  </a:moveTo>
                  <a:lnTo>
                    <a:pt x="0" y="1"/>
                  </a:lnTo>
                  <a:cubicBezTo>
                    <a:pt x="94" y="53"/>
                    <a:pt x="202" y="79"/>
                    <a:pt x="313" y="79"/>
                  </a:cubicBezTo>
                  <a:cubicBezTo>
                    <a:pt x="381" y="79"/>
                    <a:pt x="450" y="70"/>
                    <a:pt x="518" y="51"/>
                  </a:cubicBezTo>
                  <a:cubicBezTo>
                    <a:pt x="335" y="34"/>
                    <a:pt x="168" y="18"/>
                    <a:pt x="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5" name="Google Shape;1755;p40"/>
            <p:cNvSpPr/>
            <p:nvPr/>
          </p:nvSpPr>
          <p:spPr>
            <a:xfrm>
              <a:off x="1401021" y="4633797"/>
              <a:ext cx="27354" cy="14911"/>
            </a:xfrm>
            <a:custGeom>
              <a:avLst/>
              <a:gdLst/>
              <a:ahLst/>
              <a:cxnLst/>
              <a:rect l="l" t="t" r="r" b="b"/>
              <a:pathLst>
                <a:path w="853" h="465" extrusionOk="0">
                  <a:moveTo>
                    <a:pt x="572" y="58"/>
                  </a:moveTo>
                  <a:cubicBezTo>
                    <a:pt x="640" y="58"/>
                    <a:pt x="711" y="74"/>
                    <a:pt x="769" y="113"/>
                  </a:cubicBezTo>
                  <a:cubicBezTo>
                    <a:pt x="803" y="147"/>
                    <a:pt x="786" y="197"/>
                    <a:pt x="736" y="230"/>
                  </a:cubicBezTo>
                  <a:cubicBezTo>
                    <a:pt x="686" y="247"/>
                    <a:pt x="636" y="264"/>
                    <a:pt x="586" y="280"/>
                  </a:cubicBezTo>
                  <a:cubicBezTo>
                    <a:pt x="485" y="314"/>
                    <a:pt x="385" y="330"/>
                    <a:pt x="285" y="347"/>
                  </a:cubicBezTo>
                  <a:cubicBezTo>
                    <a:pt x="207" y="363"/>
                    <a:pt x="140" y="367"/>
                    <a:pt x="91" y="370"/>
                  </a:cubicBezTo>
                  <a:lnTo>
                    <a:pt x="91" y="370"/>
                  </a:lnTo>
                  <a:cubicBezTo>
                    <a:pt x="115" y="319"/>
                    <a:pt x="143" y="272"/>
                    <a:pt x="185" y="230"/>
                  </a:cubicBezTo>
                  <a:cubicBezTo>
                    <a:pt x="251" y="147"/>
                    <a:pt x="335" y="96"/>
                    <a:pt x="435" y="80"/>
                  </a:cubicBezTo>
                  <a:cubicBezTo>
                    <a:pt x="477" y="66"/>
                    <a:pt x="524" y="58"/>
                    <a:pt x="572" y="58"/>
                  </a:cubicBezTo>
                  <a:close/>
                  <a:moveTo>
                    <a:pt x="554" y="1"/>
                  </a:moveTo>
                  <a:cubicBezTo>
                    <a:pt x="400" y="1"/>
                    <a:pt x="248" y="68"/>
                    <a:pt x="151" y="197"/>
                  </a:cubicBezTo>
                  <a:cubicBezTo>
                    <a:pt x="103" y="244"/>
                    <a:pt x="71" y="307"/>
                    <a:pt x="53" y="371"/>
                  </a:cubicBezTo>
                  <a:lnTo>
                    <a:pt x="53" y="371"/>
                  </a:lnTo>
                  <a:cubicBezTo>
                    <a:pt x="20" y="372"/>
                    <a:pt x="1" y="374"/>
                    <a:pt x="1" y="380"/>
                  </a:cubicBezTo>
                  <a:cubicBezTo>
                    <a:pt x="17" y="383"/>
                    <a:pt x="34" y="386"/>
                    <a:pt x="51" y="388"/>
                  </a:cubicBezTo>
                  <a:lnTo>
                    <a:pt x="51" y="388"/>
                  </a:lnTo>
                  <a:cubicBezTo>
                    <a:pt x="49" y="416"/>
                    <a:pt x="35" y="433"/>
                    <a:pt x="51" y="464"/>
                  </a:cubicBezTo>
                  <a:cubicBezTo>
                    <a:pt x="61" y="439"/>
                    <a:pt x="71" y="415"/>
                    <a:pt x="81" y="391"/>
                  </a:cubicBezTo>
                  <a:lnTo>
                    <a:pt x="81" y="391"/>
                  </a:lnTo>
                  <a:cubicBezTo>
                    <a:pt x="154" y="397"/>
                    <a:pt x="224" y="397"/>
                    <a:pt x="285" y="397"/>
                  </a:cubicBezTo>
                  <a:cubicBezTo>
                    <a:pt x="385" y="380"/>
                    <a:pt x="485" y="364"/>
                    <a:pt x="586" y="330"/>
                  </a:cubicBezTo>
                  <a:cubicBezTo>
                    <a:pt x="652" y="314"/>
                    <a:pt x="719" y="297"/>
                    <a:pt x="769" y="264"/>
                  </a:cubicBezTo>
                  <a:cubicBezTo>
                    <a:pt x="803" y="247"/>
                    <a:pt x="820" y="213"/>
                    <a:pt x="836" y="180"/>
                  </a:cubicBezTo>
                  <a:cubicBezTo>
                    <a:pt x="853" y="147"/>
                    <a:pt x="836" y="96"/>
                    <a:pt x="803" y="63"/>
                  </a:cubicBezTo>
                  <a:cubicBezTo>
                    <a:pt x="725" y="21"/>
                    <a:pt x="640" y="1"/>
                    <a:pt x="55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6" name="Google Shape;1756;p40"/>
            <p:cNvSpPr/>
            <p:nvPr/>
          </p:nvSpPr>
          <p:spPr>
            <a:xfrm>
              <a:off x="1391914" y="4628827"/>
              <a:ext cx="13436" cy="17733"/>
            </a:xfrm>
            <a:custGeom>
              <a:avLst/>
              <a:gdLst/>
              <a:ahLst/>
              <a:cxnLst/>
              <a:rect l="l" t="t" r="r" b="b"/>
              <a:pathLst>
                <a:path w="419" h="553" extrusionOk="0">
                  <a:moveTo>
                    <a:pt x="101" y="1"/>
                  </a:moveTo>
                  <a:cubicBezTo>
                    <a:pt x="34" y="1"/>
                    <a:pt x="1" y="68"/>
                    <a:pt x="1" y="118"/>
                  </a:cubicBezTo>
                  <a:cubicBezTo>
                    <a:pt x="17" y="168"/>
                    <a:pt x="34" y="218"/>
                    <a:pt x="51" y="251"/>
                  </a:cubicBezTo>
                  <a:cubicBezTo>
                    <a:pt x="84" y="318"/>
                    <a:pt x="134" y="368"/>
                    <a:pt x="185" y="435"/>
                  </a:cubicBezTo>
                  <a:cubicBezTo>
                    <a:pt x="218" y="485"/>
                    <a:pt x="268" y="519"/>
                    <a:pt x="335" y="552"/>
                  </a:cubicBezTo>
                  <a:cubicBezTo>
                    <a:pt x="335" y="535"/>
                    <a:pt x="285" y="502"/>
                    <a:pt x="201" y="402"/>
                  </a:cubicBezTo>
                  <a:cubicBezTo>
                    <a:pt x="168" y="352"/>
                    <a:pt x="118" y="285"/>
                    <a:pt x="101" y="235"/>
                  </a:cubicBezTo>
                  <a:cubicBezTo>
                    <a:pt x="51" y="168"/>
                    <a:pt x="34" y="68"/>
                    <a:pt x="101" y="51"/>
                  </a:cubicBezTo>
                  <a:cubicBezTo>
                    <a:pt x="185" y="51"/>
                    <a:pt x="251" y="118"/>
                    <a:pt x="285" y="168"/>
                  </a:cubicBezTo>
                  <a:cubicBezTo>
                    <a:pt x="335" y="235"/>
                    <a:pt x="352" y="302"/>
                    <a:pt x="368" y="368"/>
                  </a:cubicBezTo>
                  <a:cubicBezTo>
                    <a:pt x="368" y="435"/>
                    <a:pt x="368" y="485"/>
                    <a:pt x="368" y="552"/>
                  </a:cubicBezTo>
                  <a:cubicBezTo>
                    <a:pt x="402" y="502"/>
                    <a:pt x="418" y="419"/>
                    <a:pt x="402" y="352"/>
                  </a:cubicBezTo>
                  <a:cubicBezTo>
                    <a:pt x="402" y="285"/>
                    <a:pt x="368" y="218"/>
                    <a:pt x="335" y="151"/>
                  </a:cubicBezTo>
                  <a:cubicBezTo>
                    <a:pt x="285" y="68"/>
                    <a:pt x="201" y="1"/>
                    <a:pt x="10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7" name="Google Shape;1757;p40"/>
            <p:cNvSpPr/>
            <p:nvPr/>
          </p:nvSpPr>
          <p:spPr>
            <a:xfrm>
              <a:off x="1250464" y="4631104"/>
              <a:ext cx="49320" cy="42778"/>
            </a:xfrm>
            <a:custGeom>
              <a:avLst/>
              <a:gdLst/>
              <a:ahLst/>
              <a:cxnLst/>
              <a:rect l="l" t="t" r="r" b="b"/>
              <a:pathLst>
                <a:path w="1538" h="1334" extrusionOk="0">
                  <a:moveTo>
                    <a:pt x="212" y="1"/>
                  </a:moveTo>
                  <a:cubicBezTo>
                    <a:pt x="172" y="1"/>
                    <a:pt x="134" y="5"/>
                    <a:pt x="101" y="13"/>
                  </a:cubicBezTo>
                  <a:cubicBezTo>
                    <a:pt x="68" y="13"/>
                    <a:pt x="34" y="13"/>
                    <a:pt x="1" y="30"/>
                  </a:cubicBezTo>
                  <a:cubicBezTo>
                    <a:pt x="1" y="34"/>
                    <a:pt x="8" y="35"/>
                    <a:pt x="20" y="35"/>
                  </a:cubicBezTo>
                  <a:cubicBezTo>
                    <a:pt x="44" y="35"/>
                    <a:pt x="86" y="31"/>
                    <a:pt x="143" y="31"/>
                  </a:cubicBezTo>
                  <a:cubicBezTo>
                    <a:pt x="196" y="31"/>
                    <a:pt x="261" y="34"/>
                    <a:pt x="335" y="47"/>
                  </a:cubicBezTo>
                  <a:cubicBezTo>
                    <a:pt x="870" y="130"/>
                    <a:pt x="1304" y="498"/>
                    <a:pt x="1454" y="1016"/>
                  </a:cubicBezTo>
                  <a:cubicBezTo>
                    <a:pt x="1521" y="1200"/>
                    <a:pt x="1521" y="1333"/>
                    <a:pt x="1538" y="1333"/>
                  </a:cubicBezTo>
                  <a:cubicBezTo>
                    <a:pt x="1538" y="1300"/>
                    <a:pt x="1538" y="1267"/>
                    <a:pt x="1538" y="1233"/>
                  </a:cubicBezTo>
                  <a:cubicBezTo>
                    <a:pt x="1521" y="1150"/>
                    <a:pt x="1521" y="1083"/>
                    <a:pt x="1488" y="999"/>
                  </a:cubicBezTo>
                  <a:cubicBezTo>
                    <a:pt x="1354" y="464"/>
                    <a:pt x="886" y="63"/>
                    <a:pt x="335" y="13"/>
                  </a:cubicBezTo>
                  <a:cubicBezTo>
                    <a:pt x="293" y="5"/>
                    <a:pt x="251" y="1"/>
                    <a:pt x="21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8" name="Google Shape;1758;p40"/>
            <p:cNvSpPr/>
            <p:nvPr/>
          </p:nvSpPr>
          <p:spPr>
            <a:xfrm>
              <a:off x="1317966" y="4661375"/>
              <a:ext cx="41303" cy="2565"/>
            </a:xfrm>
            <a:custGeom>
              <a:avLst/>
              <a:gdLst/>
              <a:ahLst/>
              <a:cxnLst/>
              <a:rect l="l" t="t" r="r" b="b"/>
              <a:pathLst>
                <a:path w="1288" h="80" extrusionOk="0">
                  <a:moveTo>
                    <a:pt x="33" y="0"/>
                  </a:moveTo>
                  <a:cubicBezTo>
                    <a:pt x="12" y="0"/>
                    <a:pt x="1" y="2"/>
                    <a:pt x="1" y="5"/>
                  </a:cubicBezTo>
                  <a:cubicBezTo>
                    <a:pt x="244" y="54"/>
                    <a:pt x="499" y="80"/>
                    <a:pt x="752" y="80"/>
                  </a:cubicBezTo>
                  <a:cubicBezTo>
                    <a:pt x="933" y="80"/>
                    <a:pt x="1113" y="66"/>
                    <a:pt x="1288" y="38"/>
                  </a:cubicBezTo>
                  <a:cubicBezTo>
                    <a:pt x="1288" y="38"/>
                    <a:pt x="1003" y="38"/>
                    <a:pt x="653" y="22"/>
                  </a:cubicBezTo>
                  <a:cubicBezTo>
                    <a:pt x="359" y="22"/>
                    <a:pt x="118" y="0"/>
                    <a:pt x="3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9" name="Google Shape;1759;p40"/>
            <p:cNvSpPr/>
            <p:nvPr/>
          </p:nvSpPr>
          <p:spPr>
            <a:xfrm>
              <a:off x="1290131" y="4660349"/>
              <a:ext cx="4297" cy="8177"/>
            </a:xfrm>
            <a:custGeom>
              <a:avLst/>
              <a:gdLst/>
              <a:ahLst/>
              <a:cxnLst/>
              <a:rect l="l" t="t" r="r" b="b"/>
              <a:pathLst>
                <a:path w="134" h="255" extrusionOk="0">
                  <a:moveTo>
                    <a:pt x="8" y="0"/>
                  </a:moveTo>
                  <a:cubicBezTo>
                    <a:pt x="5" y="0"/>
                    <a:pt x="2" y="1"/>
                    <a:pt x="0" y="4"/>
                  </a:cubicBezTo>
                  <a:cubicBezTo>
                    <a:pt x="0" y="4"/>
                    <a:pt x="34" y="54"/>
                    <a:pt x="50" y="121"/>
                  </a:cubicBezTo>
                  <a:cubicBezTo>
                    <a:pt x="84" y="187"/>
                    <a:pt x="100" y="254"/>
                    <a:pt x="117" y="254"/>
                  </a:cubicBezTo>
                  <a:cubicBezTo>
                    <a:pt x="134" y="254"/>
                    <a:pt x="134" y="187"/>
                    <a:pt x="100" y="104"/>
                  </a:cubicBezTo>
                  <a:cubicBezTo>
                    <a:pt x="71" y="46"/>
                    <a:pt x="30" y="0"/>
                    <a:pt x="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0" name="Google Shape;1760;p40"/>
            <p:cNvSpPr/>
            <p:nvPr/>
          </p:nvSpPr>
          <p:spPr>
            <a:xfrm>
              <a:off x="1279934" y="4646913"/>
              <a:ext cx="5932" cy="5676"/>
            </a:xfrm>
            <a:custGeom>
              <a:avLst/>
              <a:gdLst/>
              <a:ahLst/>
              <a:cxnLst/>
              <a:rect l="l" t="t" r="r" b="b"/>
              <a:pathLst>
                <a:path w="185" h="177" extrusionOk="0">
                  <a:moveTo>
                    <a:pt x="22" y="1"/>
                  </a:moveTo>
                  <a:cubicBezTo>
                    <a:pt x="19" y="1"/>
                    <a:pt x="17" y="2"/>
                    <a:pt x="17" y="5"/>
                  </a:cubicBezTo>
                  <a:cubicBezTo>
                    <a:pt x="1" y="5"/>
                    <a:pt x="34" y="55"/>
                    <a:pt x="67" y="105"/>
                  </a:cubicBezTo>
                  <a:cubicBezTo>
                    <a:pt x="109" y="146"/>
                    <a:pt x="150" y="176"/>
                    <a:pt x="163" y="176"/>
                  </a:cubicBezTo>
                  <a:cubicBezTo>
                    <a:pt x="166" y="176"/>
                    <a:pt x="168" y="175"/>
                    <a:pt x="168" y="172"/>
                  </a:cubicBezTo>
                  <a:cubicBezTo>
                    <a:pt x="184" y="172"/>
                    <a:pt x="151" y="122"/>
                    <a:pt x="118" y="72"/>
                  </a:cubicBezTo>
                  <a:cubicBezTo>
                    <a:pt x="76" y="30"/>
                    <a:pt x="35" y="1"/>
                    <a:pt x="2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1" name="Google Shape;1761;p40"/>
            <p:cNvSpPr/>
            <p:nvPr/>
          </p:nvSpPr>
          <p:spPr>
            <a:xfrm>
              <a:off x="1265471" y="4639858"/>
              <a:ext cx="8594" cy="3624"/>
            </a:xfrm>
            <a:custGeom>
              <a:avLst/>
              <a:gdLst/>
              <a:ahLst/>
              <a:cxnLst/>
              <a:rect l="l" t="t" r="r" b="b"/>
              <a:pathLst>
                <a:path w="268" h="113" extrusionOk="0">
                  <a:moveTo>
                    <a:pt x="83" y="1"/>
                  </a:moveTo>
                  <a:cubicBezTo>
                    <a:pt x="34" y="1"/>
                    <a:pt x="1" y="13"/>
                    <a:pt x="1" y="24"/>
                  </a:cubicBezTo>
                  <a:cubicBezTo>
                    <a:pt x="1" y="41"/>
                    <a:pt x="67" y="41"/>
                    <a:pt x="134" y="58"/>
                  </a:cubicBezTo>
                  <a:cubicBezTo>
                    <a:pt x="175" y="85"/>
                    <a:pt x="216" y="112"/>
                    <a:pt x="239" y="112"/>
                  </a:cubicBezTo>
                  <a:cubicBezTo>
                    <a:pt x="244" y="112"/>
                    <a:pt x="248" y="111"/>
                    <a:pt x="251" y="108"/>
                  </a:cubicBezTo>
                  <a:cubicBezTo>
                    <a:pt x="268" y="108"/>
                    <a:pt x="218" y="41"/>
                    <a:pt x="151" y="8"/>
                  </a:cubicBezTo>
                  <a:cubicBezTo>
                    <a:pt x="126" y="3"/>
                    <a:pt x="103" y="1"/>
                    <a:pt x="8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2" name="Google Shape;1762;p40"/>
            <p:cNvSpPr/>
            <p:nvPr/>
          </p:nvSpPr>
          <p:spPr>
            <a:xfrm>
              <a:off x="1254761" y="4637004"/>
              <a:ext cx="4842" cy="2437"/>
            </a:xfrm>
            <a:custGeom>
              <a:avLst/>
              <a:gdLst/>
              <a:ahLst/>
              <a:cxnLst/>
              <a:rect l="l" t="t" r="r" b="b"/>
              <a:pathLst>
                <a:path w="151" h="76" extrusionOk="0">
                  <a:moveTo>
                    <a:pt x="36" y="1"/>
                  </a:moveTo>
                  <a:cubicBezTo>
                    <a:pt x="21" y="1"/>
                    <a:pt x="9" y="5"/>
                    <a:pt x="0" y="13"/>
                  </a:cubicBezTo>
                  <a:cubicBezTo>
                    <a:pt x="0" y="30"/>
                    <a:pt x="17" y="47"/>
                    <a:pt x="67" y="63"/>
                  </a:cubicBezTo>
                  <a:cubicBezTo>
                    <a:pt x="84" y="72"/>
                    <a:pt x="101" y="76"/>
                    <a:pt x="113" y="76"/>
                  </a:cubicBezTo>
                  <a:cubicBezTo>
                    <a:pt x="126" y="76"/>
                    <a:pt x="134" y="72"/>
                    <a:pt x="134" y="63"/>
                  </a:cubicBezTo>
                  <a:cubicBezTo>
                    <a:pt x="151" y="47"/>
                    <a:pt x="117" y="30"/>
                    <a:pt x="84" y="13"/>
                  </a:cubicBezTo>
                  <a:cubicBezTo>
                    <a:pt x="67" y="5"/>
                    <a:pt x="50" y="1"/>
                    <a:pt x="3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3" name="Google Shape;1763;p40"/>
            <p:cNvSpPr/>
            <p:nvPr/>
          </p:nvSpPr>
          <p:spPr>
            <a:xfrm>
              <a:off x="995431" y="2916422"/>
              <a:ext cx="495122" cy="1711923"/>
            </a:xfrm>
            <a:custGeom>
              <a:avLst/>
              <a:gdLst/>
              <a:ahLst/>
              <a:cxnLst/>
              <a:rect l="l" t="t" r="r" b="b"/>
              <a:pathLst>
                <a:path w="15440" h="53385" extrusionOk="0">
                  <a:moveTo>
                    <a:pt x="0" y="0"/>
                  </a:moveTo>
                  <a:lnTo>
                    <a:pt x="0" y="0"/>
                  </a:lnTo>
                  <a:cubicBezTo>
                    <a:pt x="0" y="1"/>
                    <a:pt x="6851" y="24244"/>
                    <a:pt x="6968" y="24696"/>
                  </a:cubicBezTo>
                  <a:cubicBezTo>
                    <a:pt x="7068" y="25147"/>
                    <a:pt x="1989" y="53267"/>
                    <a:pt x="1989" y="53267"/>
                  </a:cubicBezTo>
                  <a:lnTo>
                    <a:pt x="11162" y="53384"/>
                  </a:lnTo>
                  <a:cubicBezTo>
                    <a:pt x="11162" y="53384"/>
                    <a:pt x="14370" y="28889"/>
                    <a:pt x="14904" y="27703"/>
                  </a:cubicBezTo>
                  <a:cubicBezTo>
                    <a:pt x="15439" y="26517"/>
                    <a:pt x="11747" y="1972"/>
                    <a:pt x="11747" y="197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4" name="Google Shape;1764;p40"/>
            <p:cNvSpPr/>
            <p:nvPr/>
          </p:nvSpPr>
          <p:spPr>
            <a:xfrm>
              <a:off x="891468" y="2896605"/>
              <a:ext cx="555153" cy="1746204"/>
            </a:xfrm>
            <a:custGeom>
              <a:avLst/>
              <a:gdLst/>
              <a:ahLst/>
              <a:cxnLst/>
              <a:rect l="l" t="t" r="r" b="b"/>
              <a:pathLst>
                <a:path w="17312" h="54454" extrusionOk="0">
                  <a:moveTo>
                    <a:pt x="1488" y="0"/>
                  </a:moveTo>
                  <a:lnTo>
                    <a:pt x="1120" y="869"/>
                  </a:lnTo>
                  <a:cubicBezTo>
                    <a:pt x="51" y="3425"/>
                    <a:pt x="1" y="6283"/>
                    <a:pt x="987" y="8856"/>
                  </a:cubicBezTo>
                  <a:lnTo>
                    <a:pt x="8155" y="27586"/>
                  </a:lnTo>
                  <a:cubicBezTo>
                    <a:pt x="8656" y="28923"/>
                    <a:pt x="8957" y="30309"/>
                    <a:pt x="9040" y="31730"/>
                  </a:cubicBezTo>
                  <a:lnTo>
                    <a:pt x="10160" y="53952"/>
                  </a:lnTo>
                  <a:lnTo>
                    <a:pt x="17311" y="54453"/>
                  </a:lnTo>
                  <a:cubicBezTo>
                    <a:pt x="17311" y="54453"/>
                    <a:pt x="16810" y="36291"/>
                    <a:pt x="16793" y="30593"/>
                  </a:cubicBezTo>
                  <a:cubicBezTo>
                    <a:pt x="16793" y="26299"/>
                    <a:pt x="13702" y="12665"/>
                    <a:pt x="11964" y="6099"/>
                  </a:cubicBezTo>
                  <a:lnTo>
                    <a:pt x="11948" y="3509"/>
                  </a:lnTo>
                  <a:lnTo>
                    <a:pt x="1488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5" name="Google Shape;1765;p40"/>
            <p:cNvSpPr/>
            <p:nvPr/>
          </p:nvSpPr>
          <p:spPr>
            <a:xfrm>
              <a:off x="1052223" y="3526154"/>
              <a:ext cx="165051" cy="1100557"/>
            </a:xfrm>
            <a:custGeom>
              <a:avLst/>
              <a:gdLst/>
              <a:ahLst/>
              <a:cxnLst/>
              <a:rect l="l" t="t" r="r" b="b"/>
              <a:pathLst>
                <a:path w="5147" h="34320" extrusionOk="0">
                  <a:moveTo>
                    <a:pt x="1" y="1"/>
                  </a:moveTo>
                  <a:cubicBezTo>
                    <a:pt x="1" y="34"/>
                    <a:pt x="17" y="68"/>
                    <a:pt x="34" y="101"/>
                  </a:cubicBezTo>
                  <a:cubicBezTo>
                    <a:pt x="51" y="151"/>
                    <a:pt x="84" y="235"/>
                    <a:pt x="117" y="352"/>
                  </a:cubicBezTo>
                  <a:cubicBezTo>
                    <a:pt x="201" y="569"/>
                    <a:pt x="318" y="886"/>
                    <a:pt x="468" y="1304"/>
                  </a:cubicBezTo>
                  <a:lnTo>
                    <a:pt x="1805" y="4829"/>
                  </a:lnTo>
                  <a:cubicBezTo>
                    <a:pt x="2373" y="6300"/>
                    <a:pt x="3041" y="8071"/>
                    <a:pt x="3777" y="10026"/>
                  </a:cubicBezTo>
                  <a:cubicBezTo>
                    <a:pt x="3910" y="10544"/>
                    <a:pt x="4011" y="11078"/>
                    <a:pt x="4061" y="11596"/>
                  </a:cubicBezTo>
                  <a:cubicBezTo>
                    <a:pt x="4111" y="12148"/>
                    <a:pt x="4161" y="12699"/>
                    <a:pt x="4211" y="13267"/>
                  </a:cubicBezTo>
                  <a:cubicBezTo>
                    <a:pt x="4311" y="14403"/>
                    <a:pt x="4378" y="15590"/>
                    <a:pt x="4445" y="16793"/>
                  </a:cubicBezTo>
                  <a:cubicBezTo>
                    <a:pt x="4712" y="21638"/>
                    <a:pt x="4846" y="26016"/>
                    <a:pt x="4963" y="29190"/>
                  </a:cubicBezTo>
                  <a:cubicBezTo>
                    <a:pt x="5013" y="30778"/>
                    <a:pt x="5063" y="32048"/>
                    <a:pt x="5080" y="32950"/>
                  </a:cubicBezTo>
                  <a:cubicBezTo>
                    <a:pt x="5097" y="33384"/>
                    <a:pt x="5113" y="33735"/>
                    <a:pt x="5113" y="33969"/>
                  </a:cubicBezTo>
                  <a:cubicBezTo>
                    <a:pt x="5130" y="34086"/>
                    <a:pt x="5130" y="34170"/>
                    <a:pt x="5130" y="34236"/>
                  </a:cubicBezTo>
                  <a:cubicBezTo>
                    <a:pt x="5130" y="34270"/>
                    <a:pt x="5130" y="34303"/>
                    <a:pt x="5147" y="34320"/>
                  </a:cubicBezTo>
                  <a:cubicBezTo>
                    <a:pt x="5147" y="34303"/>
                    <a:pt x="5147" y="34270"/>
                    <a:pt x="5147" y="34236"/>
                  </a:cubicBezTo>
                  <a:cubicBezTo>
                    <a:pt x="5147" y="34170"/>
                    <a:pt x="5147" y="34086"/>
                    <a:pt x="5147" y="33969"/>
                  </a:cubicBezTo>
                  <a:cubicBezTo>
                    <a:pt x="5147" y="33735"/>
                    <a:pt x="5147" y="33384"/>
                    <a:pt x="5147" y="32950"/>
                  </a:cubicBezTo>
                  <a:cubicBezTo>
                    <a:pt x="5113" y="32048"/>
                    <a:pt x="5097" y="30778"/>
                    <a:pt x="5063" y="29190"/>
                  </a:cubicBezTo>
                  <a:cubicBezTo>
                    <a:pt x="4980" y="26016"/>
                    <a:pt x="4863" y="21638"/>
                    <a:pt x="4595" y="16793"/>
                  </a:cubicBezTo>
                  <a:cubicBezTo>
                    <a:pt x="4529" y="15573"/>
                    <a:pt x="4445" y="14403"/>
                    <a:pt x="4345" y="13267"/>
                  </a:cubicBezTo>
                  <a:cubicBezTo>
                    <a:pt x="4311" y="12699"/>
                    <a:pt x="4244" y="12131"/>
                    <a:pt x="4194" y="11580"/>
                  </a:cubicBezTo>
                  <a:cubicBezTo>
                    <a:pt x="4144" y="11045"/>
                    <a:pt x="4044" y="10510"/>
                    <a:pt x="3910" y="9992"/>
                  </a:cubicBezTo>
                  <a:cubicBezTo>
                    <a:pt x="3158" y="8037"/>
                    <a:pt x="2473" y="6266"/>
                    <a:pt x="1889" y="4779"/>
                  </a:cubicBezTo>
                  <a:cubicBezTo>
                    <a:pt x="1320" y="3309"/>
                    <a:pt x="853" y="2123"/>
                    <a:pt x="518" y="1287"/>
                  </a:cubicBezTo>
                  <a:cubicBezTo>
                    <a:pt x="368" y="870"/>
                    <a:pt x="234" y="552"/>
                    <a:pt x="151" y="335"/>
                  </a:cubicBezTo>
                  <a:cubicBezTo>
                    <a:pt x="101" y="235"/>
                    <a:pt x="67" y="151"/>
                    <a:pt x="51" y="84"/>
                  </a:cubicBezTo>
                  <a:cubicBezTo>
                    <a:pt x="34" y="51"/>
                    <a:pt x="17" y="34"/>
                    <a:pt x="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6" name="Google Shape;1766;p40"/>
            <p:cNvSpPr/>
            <p:nvPr/>
          </p:nvSpPr>
          <p:spPr>
            <a:xfrm>
              <a:off x="1293338" y="3038567"/>
              <a:ext cx="141482" cy="1008972"/>
            </a:xfrm>
            <a:custGeom>
              <a:avLst/>
              <a:gdLst/>
              <a:ahLst/>
              <a:cxnLst/>
              <a:rect l="l" t="t" r="r" b="b"/>
              <a:pathLst>
                <a:path w="4412" h="31464" extrusionOk="0">
                  <a:moveTo>
                    <a:pt x="0" y="1"/>
                  </a:moveTo>
                  <a:cubicBezTo>
                    <a:pt x="0" y="18"/>
                    <a:pt x="0" y="51"/>
                    <a:pt x="17" y="84"/>
                  </a:cubicBezTo>
                  <a:cubicBezTo>
                    <a:pt x="17" y="51"/>
                    <a:pt x="17" y="18"/>
                    <a:pt x="0" y="1"/>
                  </a:cubicBezTo>
                  <a:close/>
                  <a:moveTo>
                    <a:pt x="17" y="84"/>
                  </a:moveTo>
                  <a:cubicBezTo>
                    <a:pt x="17" y="135"/>
                    <a:pt x="34" y="218"/>
                    <a:pt x="50" y="318"/>
                  </a:cubicBezTo>
                  <a:cubicBezTo>
                    <a:pt x="84" y="536"/>
                    <a:pt x="134" y="836"/>
                    <a:pt x="201" y="1237"/>
                  </a:cubicBezTo>
                  <a:cubicBezTo>
                    <a:pt x="351" y="2039"/>
                    <a:pt x="552" y="3192"/>
                    <a:pt x="802" y="4596"/>
                  </a:cubicBezTo>
                  <a:cubicBezTo>
                    <a:pt x="1320" y="7436"/>
                    <a:pt x="2039" y="11363"/>
                    <a:pt x="2824" y="15674"/>
                  </a:cubicBezTo>
                  <a:cubicBezTo>
                    <a:pt x="3225" y="17846"/>
                    <a:pt x="3609" y="19901"/>
                    <a:pt x="3960" y="21772"/>
                  </a:cubicBezTo>
                  <a:cubicBezTo>
                    <a:pt x="4044" y="22240"/>
                    <a:pt x="4127" y="22708"/>
                    <a:pt x="4211" y="23142"/>
                  </a:cubicBezTo>
                  <a:cubicBezTo>
                    <a:pt x="4261" y="23577"/>
                    <a:pt x="4294" y="24011"/>
                    <a:pt x="4278" y="24445"/>
                  </a:cubicBezTo>
                  <a:cubicBezTo>
                    <a:pt x="4278" y="25298"/>
                    <a:pt x="4278" y="26083"/>
                    <a:pt x="4278" y="26801"/>
                  </a:cubicBezTo>
                  <a:cubicBezTo>
                    <a:pt x="4294" y="28238"/>
                    <a:pt x="4294" y="29408"/>
                    <a:pt x="4311" y="30227"/>
                  </a:cubicBezTo>
                  <a:cubicBezTo>
                    <a:pt x="4311" y="30611"/>
                    <a:pt x="4311" y="30928"/>
                    <a:pt x="4328" y="31146"/>
                  </a:cubicBezTo>
                  <a:cubicBezTo>
                    <a:pt x="4328" y="31246"/>
                    <a:pt x="4328" y="31329"/>
                    <a:pt x="4328" y="31396"/>
                  </a:cubicBezTo>
                  <a:cubicBezTo>
                    <a:pt x="4328" y="31413"/>
                    <a:pt x="4328" y="31446"/>
                    <a:pt x="4328" y="31463"/>
                  </a:cubicBezTo>
                  <a:cubicBezTo>
                    <a:pt x="4345" y="31446"/>
                    <a:pt x="4345" y="31413"/>
                    <a:pt x="4345" y="31396"/>
                  </a:cubicBezTo>
                  <a:cubicBezTo>
                    <a:pt x="4345" y="31329"/>
                    <a:pt x="4345" y="31246"/>
                    <a:pt x="4345" y="31146"/>
                  </a:cubicBezTo>
                  <a:cubicBezTo>
                    <a:pt x="4345" y="30928"/>
                    <a:pt x="4361" y="30611"/>
                    <a:pt x="4361" y="30210"/>
                  </a:cubicBezTo>
                  <a:cubicBezTo>
                    <a:pt x="4361" y="29408"/>
                    <a:pt x="4378" y="28238"/>
                    <a:pt x="4378" y="26801"/>
                  </a:cubicBezTo>
                  <a:cubicBezTo>
                    <a:pt x="4395" y="26083"/>
                    <a:pt x="4395" y="25298"/>
                    <a:pt x="4395" y="24445"/>
                  </a:cubicBezTo>
                  <a:cubicBezTo>
                    <a:pt x="4411" y="24011"/>
                    <a:pt x="4395" y="23560"/>
                    <a:pt x="4345" y="23126"/>
                  </a:cubicBezTo>
                  <a:cubicBezTo>
                    <a:pt x="4261" y="22674"/>
                    <a:pt x="4178" y="22223"/>
                    <a:pt x="4094" y="21755"/>
                  </a:cubicBezTo>
                  <a:cubicBezTo>
                    <a:pt x="3743" y="19884"/>
                    <a:pt x="3359" y="17812"/>
                    <a:pt x="2974" y="15657"/>
                  </a:cubicBezTo>
                  <a:cubicBezTo>
                    <a:pt x="2156" y="11329"/>
                    <a:pt x="1437" y="7420"/>
                    <a:pt x="903" y="4579"/>
                  </a:cubicBezTo>
                  <a:cubicBezTo>
                    <a:pt x="635" y="3176"/>
                    <a:pt x="418" y="2023"/>
                    <a:pt x="251" y="1221"/>
                  </a:cubicBezTo>
                  <a:cubicBezTo>
                    <a:pt x="184" y="836"/>
                    <a:pt x="117" y="536"/>
                    <a:pt x="67" y="318"/>
                  </a:cubicBezTo>
                  <a:cubicBezTo>
                    <a:pt x="50" y="218"/>
                    <a:pt x="34" y="135"/>
                    <a:pt x="17" y="84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7" name="Google Shape;1767;p40"/>
            <p:cNvSpPr/>
            <p:nvPr/>
          </p:nvSpPr>
          <p:spPr>
            <a:xfrm>
              <a:off x="1307801" y="2985015"/>
              <a:ext cx="20940" cy="98062"/>
            </a:xfrm>
            <a:custGeom>
              <a:avLst/>
              <a:gdLst/>
              <a:ahLst/>
              <a:cxnLst/>
              <a:rect l="l" t="t" r="r" b="b"/>
              <a:pathLst>
                <a:path w="653" h="3058" extrusionOk="0">
                  <a:moveTo>
                    <a:pt x="201" y="0"/>
                  </a:moveTo>
                  <a:lnTo>
                    <a:pt x="201" y="0"/>
                  </a:lnTo>
                  <a:cubicBezTo>
                    <a:pt x="151" y="17"/>
                    <a:pt x="468" y="668"/>
                    <a:pt x="418" y="1537"/>
                  </a:cubicBezTo>
                  <a:cubicBezTo>
                    <a:pt x="385" y="2423"/>
                    <a:pt x="1" y="3041"/>
                    <a:pt x="34" y="3058"/>
                  </a:cubicBezTo>
                  <a:cubicBezTo>
                    <a:pt x="151" y="2941"/>
                    <a:pt x="234" y="2807"/>
                    <a:pt x="285" y="2657"/>
                  </a:cubicBezTo>
                  <a:cubicBezTo>
                    <a:pt x="602" y="1955"/>
                    <a:pt x="652" y="1153"/>
                    <a:pt x="418" y="418"/>
                  </a:cubicBezTo>
                  <a:cubicBezTo>
                    <a:pt x="368" y="267"/>
                    <a:pt x="301" y="117"/>
                    <a:pt x="201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8" name="Google Shape;1768;p40"/>
            <p:cNvSpPr/>
            <p:nvPr/>
          </p:nvSpPr>
          <p:spPr>
            <a:xfrm>
              <a:off x="988985" y="2966255"/>
              <a:ext cx="139365" cy="74589"/>
            </a:xfrm>
            <a:custGeom>
              <a:avLst/>
              <a:gdLst/>
              <a:ahLst/>
              <a:cxnLst/>
              <a:rect l="l" t="t" r="r" b="b"/>
              <a:pathLst>
                <a:path w="4346" h="2326" extrusionOk="0">
                  <a:moveTo>
                    <a:pt x="4328" y="0"/>
                  </a:moveTo>
                  <a:cubicBezTo>
                    <a:pt x="4278" y="284"/>
                    <a:pt x="4195" y="568"/>
                    <a:pt x="4095" y="836"/>
                  </a:cubicBezTo>
                  <a:cubicBezTo>
                    <a:pt x="3710" y="1701"/>
                    <a:pt x="2867" y="2191"/>
                    <a:pt x="2008" y="2191"/>
                  </a:cubicBezTo>
                  <a:cubicBezTo>
                    <a:pt x="1524" y="2191"/>
                    <a:pt x="1035" y="2036"/>
                    <a:pt x="619" y="1705"/>
                  </a:cubicBezTo>
                  <a:cubicBezTo>
                    <a:pt x="385" y="1521"/>
                    <a:pt x="185" y="1304"/>
                    <a:pt x="1" y="1086"/>
                  </a:cubicBezTo>
                  <a:lnTo>
                    <a:pt x="1" y="1086"/>
                  </a:lnTo>
                  <a:cubicBezTo>
                    <a:pt x="34" y="1153"/>
                    <a:pt x="68" y="1237"/>
                    <a:pt x="118" y="1304"/>
                  </a:cubicBezTo>
                  <a:cubicBezTo>
                    <a:pt x="235" y="1471"/>
                    <a:pt x="385" y="1638"/>
                    <a:pt x="552" y="1771"/>
                  </a:cubicBezTo>
                  <a:cubicBezTo>
                    <a:pt x="803" y="1989"/>
                    <a:pt x="1104" y="2139"/>
                    <a:pt x="1404" y="2223"/>
                  </a:cubicBezTo>
                  <a:cubicBezTo>
                    <a:pt x="1621" y="2292"/>
                    <a:pt x="1844" y="2325"/>
                    <a:pt x="2066" y="2325"/>
                  </a:cubicBezTo>
                  <a:cubicBezTo>
                    <a:pt x="2648" y="2325"/>
                    <a:pt x="3220" y="2095"/>
                    <a:pt x="3643" y="1671"/>
                  </a:cubicBezTo>
                  <a:cubicBezTo>
                    <a:pt x="3877" y="1437"/>
                    <a:pt x="4061" y="1170"/>
                    <a:pt x="4178" y="869"/>
                  </a:cubicBezTo>
                  <a:cubicBezTo>
                    <a:pt x="4262" y="669"/>
                    <a:pt x="4328" y="451"/>
                    <a:pt x="4345" y="234"/>
                  </a:cubicBezTo>
                  <a:cubicBezTo>
                    <a:pt x="4345" y="151"/>
                    <a:pt x="4345" y="84"/>
                    <a:pt x="4328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9" name="Google Shape;1769;p40"/>
            <p:cNvSpPr/>
            <p:nvPr/>
          </p:nvSpPr>
          <p:spPr>
            <a:xfrm>
              <a:off x="1889697" y="2467477"/>
              <a:ext cx="199877" cy="231784"/>
            </a:xfrm>
            <a:custGeom>
              <a:avLst/>
              <a:gdLst/>
              <a:ahLst/>
              <a:cxnLst/>
              <a:rect l="l" t="t" r="r" b="b"/>
              <a:pathLst>
                <a:path w="6233" h="7228" extrusionOk="0">
                  <a:moveTo>
                    <a:pt x="4049" y="1"/>
                  </a:moveTo>
                  <a:cubicBezTo>
                    <a:pt x="3897" y="1"/>
                    <a:pt x="3735" y="88"/>
                    <a:pt x="3659" y="266"/>
                  </a:cubicBezTo>
                  <a:cubicBezTo>
                    <a:pt x="3475" y="634"/>
                    <a:pt x="3241" y="968"/>
                    <a:pt x="2957" y="1268"/>
                  </a:cubicBezTo>
                  <a:cubicBezTo>
                    <a:pt x="2757" y="1519"/>
                    <a:pt x="2490" y="1720"/>
                    <a:pt x="2206" y="1887"/>
                  </a:cubicBezTo>
                  <a:cubicBezTo>
                    <a:pt x="1871" y="2071"/>
                    <a:pt x="1587" y="2221"/>
                    <a:pt x="1337" y="2338"/>
                  </a:cubicBezTo>
                  <a:lnTo>
                    <a:pt x="0" y="3157"/>
                  </a:lnTo>
                  <a:lnTo>
                    <a:pt x="251" y="6816"/>
                  </a:lnTo>
                  <a:lnTo>
                    <a:pt x="1504" y="7066"/>
                  </a:lnTo>
                  <a:cubicBezTo>
                    <a:pt x="2209" y="7147"/>
                    <a:pt x="2720" y="7228"/>
                    <a:pt x="3099" y="7228"/>
                  </a:cubicBezTo>
                  <a:cubicBezTo>
                    <a:pt x="3348" y="7228"/>
                    <a:pt x="3540" y="7193"/>
                    <a:pt x="3693" y="7100"/>
                  </a:cubicBezTo>
                  <a:cubicBezTo>
                    <a:pt x="4194" y="6782"/>
                    <a:pt x="3709" y="6264"/>
                    <a:pt x="3709" y="6264"/>
                  </a:cubicBezTo>
                  <a:cubicBezTo>
                    <a:pt x="3709" y="6264"/>
                    <a:pt x="4578" y="6147"/>
                    <a:pt x="4612" y="5646"/>
                  </a:cubicBezTo>
                  <a:cubicBezTo>
                    <a:pt x="4612" y="5412"/>
                    <a:pt x="4461" y="5228"/>
                    <a:pt x="4261" y="5162"/>
                  </a:cubicBezTo>
                  <a:cubicBezTo>
                    <a:pt x="4261" y="5162"/>
                    <a:pt x="5046" y="5045"/>
                    <a:pt x="5247" y="4761"/>
                  </a:cubicBezTo>
                  <a:cubicBezTo>
                    <a:pt x="5531" y="4393"/>
                    <a:pt x="5079" y="4076"/>
                    <a:pt x="5079" y="4076"/>
                  </a:cubicBezTo>
                  <a:cubicBezTo>
                    <a:pt x="6199" y="3675"/>
                    <a:pt x="6232" y="3056"/>
                    <a:pt x="6015" y="2939"/>
                  </a:cubicBezTo>
                  <a:cubicBezTo>
                    <a:pt x="5969" y="2918"/>
                    <a:pt x="5894" y="2909"/>
                    <a:pt x="5805" y="2909"/>
                  </a:cubicBezTo>
                  <a:cubicBezTo>
                    <a:pt x="5478" y="2909"/>
                    <a:pt x="4962" y="3023"/>
                    <a:pt x="4962" y="3023"/>
                  </a:cubicBezTo>
                  <a:cubicBezTo>
                    <a:pt x="4734" y="3034"/>
                    <a:pt x="4380" y="3059"/>
                    <a:pt x="4036" y="3059"/>
                  </a:cubicBezTo>
                  <a:cubicBezTo>
                    <a:pt x="3323" y="3059"/>
                    <a:pt x="2656" y="2951"/>
                    <a:pt x="3241" y="2388"/>
                  </a:cubicBezTo>
                  <a:cubicBezTo>
                    <a:pt x="4110" y="1553"/>
                    <a:pt x="4461" y="583"/>
                    <a:pt x="4378" y="249"/>
                  </a:cubicBezTo>
                  <a:cubicBezTo>
                    <a:pt x="4336" y="84"/>
                    <a:pt x="4197" y="1"/>
                    <a:pt x="4049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0" name="Google Shape;1770;p40"/>
            <p:cNvSpPr/>
            <p:nvPr/>
          </p:nvSpPr>
          <p:spPr>
            <a:xfrm>
              <a:off x="1977562" y="2569227"/>
              <a:ext cx="75038" cy="45247"/>
            </a:xfrm>
            <a:custGeom>
              <a:avLst/>
              <a:gdLst/>
              <a:ahLst/>
              <a:cxnLst/>
              <a:rect l="l" t="t" r="r" b="b"/>
              <a:pathLst>
                <a:path w="2340" h="1411" extrusionOk="0">
                  <a:moveTo>
                    <a:pt x="2005" y="0"/>
                  </a:moveTo>
                  <a:cubicBezTo>
                    <a:pt x="1788" y="50"/>
                    <a:pt x="1571" y="117"/>
                    <a:pt x="1354" y="217"/>
                  </a:cubicBezTo>
                  <a:lnTo>
                    <a:pt x="669" y="485"/>
                  </a:lnTo>
                  <a:cubicBezTo>
                    <a:pt x="518" y="535"/>
                    <a:pt x="385" y="602"/>
                    <a:pt x="251" y="685"/>
                  </a:cubicBezTo>
                  <a:cubicBezTo>
                    <a:pt x="84" y="786"/>
                    <a:pt x="0" y="986"/>
                    <a:pt x="50" y="1170"/>
                  </a:cubicBezTo>
                  <a:cubicBezTo>
                    <a:pt x="100" y="1270"/>
                    <a:pt x="184" y="1354"/>
                    <a:pt x="284" y="1370"/>
                  </a:cubicBezTo>
                  <a:cubicBezTo>
                    <a:pt x="345" y="1395"/>
                    <a:pt x="407" y="1410"/>
                    <a:pt x="468" y="1410"/>
                  </a:cubicBezTo>
                  <a:cubicBezTo>
                    <a:pt x="490" y="1410"/>
                    <a:pt x="513" y="1408"/>
                    <a:pt x="535" y="1404"/>
                  </a:cubicBezTo>
                  <a:cubicBezTo>
                    <a:pt x="685" y="1404"/>
                    <a:pt x="836" y="1387"/>
                    <a:pt x="986" y="1354"/>
                  </a:cubicBezTo>
                  <a:cubicBezTo>
                    <a:pt x="1220" y="1304"/>
                    <a:pt x="1471" y="1237"/>
                    <a:pt x="1704" y="1170"/>
                  </a:cubicBezTo>
                  <a:cubicBezTo>
                    <a:pt x="1922" y="1103"/>
                    <a:pt x="2139" y="1019"/>
                    <a:pt x="2339" y="903"/>
                  </a:cubicBezTo>
                  <a:lnTo>
                    <a:pt x="2339" y="903"/>
                  </a:lnTo>
                  <a:cubicBezTo>
                    <a:pt x="2122" y="936"/>
                    <a:pt x="1888" y="986"/>
                    <a:pt x="1671" y="1053"/>
                  </a:cubicBezTo>
                  <a:cubicBezTo>
                    <a:pt x="1471" y="1103"/>
                    <a:pt x="1220" y="1170"/>
                    <a:pt x="953" y="1203"/>
                  </a:cubicBezTo>
                  <a:cubicBezTo>
                    <a:pt x="819" y="1237"/>
                    <a:pt x="669" y="1253"/>
                    <a:pt x="535" y="1253"/>
                  </a:cubicBezTo>
                  <a:cubicBezTo>
                    <a:pt x="385" y="1253"/>
                    <a:pt x="234" y="1220"/>
                    <a:pt x="201" y="1120"/>
                  </a:cubicBezTo>
                  <a:cubicBezTo>
                    <a:pt x="184" y="1003"/>
                    <a:pt x="234" y="869"/>
                    <a:pt x="351" y="802"/>
                  </a:cubicBezTo>
                  <a:cubicBezTo>
                    <a:pt x="468" y="735"/>
                    <a:pt x="585" y="669"/>
                    <a:pt x="719" y="618"/>
                  </a:cubicBezTo>
                  <a:lnTo>
                    <a:pt x="1404" y="318"/>
                  </a:lnTo>
                  <a:cubicBezTo>
                    <a:pt x="1621" y="234"/>
                    <a:pt x="1821" y="134"/>
                    <a:pt x="2005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1" name="Google Shape;1771;p40"/>
            <p:cNvSpPr/>
            <p:nvPr/>
          </p:nvSpPr>
          <p:spPr>
            <a:xfrm>
              <a:off x="1970604" y="2610466"/>
              <a:ext cx="61089" cy="34344"/>
            </a:xfrm>
            <a:custGeom>
              <a:avLst/>
              <a:gdLst/>
              <a:ahLst/>
              <a:cxnLst/>
              <a:rect l="l" t="t" r="r" b="b"/>
              <a:pathLst>
                <a:path w="1905" h="1071" extrusionOk="0">
                  <a:moveTo>
                    <a:pt x="1303" y="1"/>
                  </a:moveTo>
                  <a:cubicBezTo>
                    <a:pt x="1119" y="1"/>
                    <a:pt x="952" y="51"/>
                    <a:pt x="802" y="118"/>
                  </a:cubicBezTo>
                  <a:cubicBezTo>
                    <a:pt x="618" y="185"/>
                    <a:pt x="451" y="268"/>
                    <a:pt x="301" y="385"/>
                  </a:cubicBezTo>
                  <a:cubicBezTo>
                    <a:pt x="201" y="435"/>
                    <a:pt x="100" y="519"/>
                    <a:pt x="50" y="636"/>
                  </a:cubicBezTo>
                  <a:cubicBezTo>
                    <a:pt x="17" y="703"/>
                    <a:pt x="0" y="769"/>
                    <a:pt x="17" y="853"/>
                  </a:cubicBezTo>
                  <a:cubicBezTo>
                    <a:pt x="50" y="937"/>
                    <a:pt x="100" y="987"/>
                    <a:pt x="184" y="1020"/>
                  </a:cubicBezTo>
                  <a:cubicBezTo>
                    <a:pt x="259" y="1052"/>
                    <a:pt x="342" y="1071"/>
                    <a:pt x="427" y="1071"/>
                  </a:cubicBezTo>
                  <a:cubicBezTo>
                    <a:pt x="473" y="1071"/>
                    <a:pt x="521" y="1065"/>
                    <a:pt x="568" y="1053"/>
                  </a:cubicBezTo>
                  <a:lnTo>
                    <a:pt x="886" y="987"/>
                  </a:lnTo>
                  <a:lnTo>
                    <a:pt x="1420" y="853"/>
                  </a:lnTo>
                  <a:cubicBezTo>
                    <a:pt x="1587" y="820"/>
                    <a:pt x="1754" y="769"/>
                    <a:pt x="1905" y="686"/>
                  </a:cubicBezTo>
                  <a:cubicBezTo>
                    <a:pt x="1738" y="686"/>
                    <a:pt x="1571" y="703"/>
                    <a:pt x="1404" y="736"/>
                  </a:cubicBezTo>
                  <a:lnTo>
                    <a:pt x="852" y="836"/>
                  </a:lnTo>
                  <a:cubicBezTo>
                    <a:pt x="720" y="860"/>
                    <a:pt x="545" y="919"/>
                    <a:pt x="401" y="919"/>
                  </a:cubicBezTo>
                  <a:cubicBezTo>
                    <a:pt x="344" y="919"/>
                    <a:pt x="293" y="910"/>
                    <a:pt x="251" y="886"/>
                  </a:cubicBezTo>
                  <a:cubicBezTo>
                    <a:pt x="167" y="853"/>
                    <a:pt x="150" y="769"/>
                    <a:pt x="184" y="703"/>
                  </a:cubicBezTo>
                  <a:cubicBezTo>
                    <a:pt x="234" y="619"/>
                    <a:pt x="301" y="552"/>
                    <a:pt x="384" y="502"/>
                  </a:cubicBezTo>
                  <a:cubicBezTo>
                    <a:pt x="535" y="402"/>
                    <a:pt x="685" y="302"/>
                    <a:pt x="852" y="218"/>
                  </a:cubicBezTo>
                  <a:cubicBezTo>
                    <a:pt x="1003" y="168"/>
                    <a:pt x="1153" y="84"/>
                    <a:pt x="1303" y="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2" name="Google Shape;1772;p40"/>
            <p:cNvSpPr/>
            <p:nvPr/>
          </p:nvSpPr>
          <p:spPr>
            <a:xfrm>
              <a:off x="1960951" y="2632978"/>
              <a:ext cx="63237" cy="38834"/>
            </a:xfrm>
            <a:custGeom>
              <a:avLst/>
              <a:gdLst/>
              <a:ahLst/>
              <a:cxnLst/>
              <a:rect l="l" t="t" r="r" b="b"/>
              <a:pathLst>
                <a:path w="1972" h="1211" extrusionOk="0">
                  <a:moveTo>
                    <a:pt x="1972" y="1"/>
                  </a:moveTo>
                  <a:cubicBezTo>
                    <a:pt x="1788" y="1"/>
                    <a:pt x="1604" y="34"/>
                    <a:pt x="1420" y="84"/>
                  </a:cubicBezTo>
                  <a:cubicBezTo>
                    <a:pt x="1253" y="134"/>
                    <a:pt x="1053" y="184"/>
                    <a:pt x="819" y="251"/>
                  </a:cubicBezTo>
                  <a:cubicBezTo>
                    <a:pt x="719" y="301"/>
                    <a:pt x="602" y="335"/>
                    <a:pt x="485" y="385"/>
                  </a:cubicBezTo>
                  <a:cubicBezTo>
                    <a:pt x="351" y="418"/>
                    <a:pt x="217" y="485"/>
                    <a:pt x="117" y="569"/>
                  </a:cubicBezTo>
                  <a:cubicBezTo>
                    <a:pt x="50" y="636"/>
                    <a:pt x="17" y="719"/>
                    <a:pt x="0" y="803"/>
                  </a:cubicBezTo>
                  <a:cubicBezTo>
                    <a:pt x="0" y="886"/>
                    <a:pt x="34" y="970"/>
                    <a:pt x="84" y="1020"/>
                  </a:cubicBezTo>
                  <a:cubicBezTo>
                    <a:pt x="184" y="1137"/>
                    <a:pt x="318" y="1187"/>
                    <a:pt x="451" y="1204"/>
                  </a:cubicBezTo>
                  <a:cubicBezTo>
                    <a:pt x="510" y="1208"/>
                    <a:pt x="568" y="1210"/>
                    <a:pt x="626" y="1210"/>
                  </a:cubicBezTo>
                  <a:cubicBezTo>
                    <a:pt x="784" y="1210"/>
                    <a:pt x="940" y="1195"/>
                    <a:pt x="1086" y="1170"/>
                  </a:cubicBezTo>
                  <a:cubicBezTo>
                    <a:pt x="1270" y="1153"/>
                    <a:pt x="1454" y="1070"/>
                    <a:pt x="1621" y="970"/>
                  </a:cubicBezTo>
                  <a:cubicBezTo>
                    <a:pt x="1621" y="964"/>
                    <a:pt x="1615" y="962"/>
                    <a:pt x="1604" y="962"/>
                  </a:cubicBezTo>
                  <a:cubicBezTo>
                    <a:pt x="1548" y="962"/>
                    <a:pt x="1350" y="1025"/>
                    <a:pt x="1070" y="1053"/>
                  </a:cubicBezTo>
                  <a:cubicBezTo>
                    <a:pt x="969" y="1070"/>
                    <a:pt x="869" y="1078"/>
                    <a:pt x="771" y="1078"/>
                  </a:cubicBezTo>
                  <a:cubicBezTo>
                    <a:pt x="673" y="1078"/>
                    <a:pt x="577" y="1070"/>
                    <a:pt x="485" y="1053"/>
                  </a:cubicBezTo>
                  <a:cubicBezTo>
                    <a:pt x="368" y="1053"/>
                    <a:pt x="284" y="1003"/>
                    <a:pt x="217" y="936"/>
                  </a:cubicBezTo>
                  <a:cubicBezTo>
                    <a:pt x="151" y="853"/>
                    <a:pt x="151" y="752"/>
                    <a:pt x="217" y="686"/>
                  </a:cubicBezTo>
                  <a:cubicBezTo>
                    <a:pt x="318" y="619"/>
                    <a:pt x="418" y="552"/>
                    <a:pt x="535" y="519"/>
                  </a:cubicBezTo>
                  <a:lnTo>
                    <a:pt x="869" y="402"/>
                  </a:lnTo>
                  <a:cubicBezTo>
                    <a:pt x="1086" y="318"/>
                    <a:pt x="1287" y="251"/>
                    <a:pt x="1454" y="201"/>
                  </a:cubicBezTo>
                  <a:cubicBezTo>
                    <a:pt x="1638" y="151"/>
                    <a:pt x="1805" y="84"/>
                    <a:pt x="1972" y="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3" name="Google Shape;1773;p40"/>
            <p:cNvSpPr/>
            <p:nvPr/>
          </p:nvSpPr>
          <p:spPr>
            <a:xfrm>
              <a:off x="1956109" y="2665398"/>
              <a:ext cx="51468" cy="32260"/>
            </a:xfrm>
            <a:custGeom>
              <a:avLst/>
              <a:gdLst/>
              <a:ahLst/>
              <a:cxnLst/>
              <a:rect l="l" t="t" r="r" b="b"/>
              <a:pathLst>
                <a:path w="1605" h="1006" extrusionOk="0">
                  <a:moveTo>
                    <a:pt x="1546" y="1"/>
                  </a:moveTo>
                  <a:cubicBezTo>
                    <a:pt x="1420" y="1"/>
                    <a:pt x="1027" y="72"/>
                    <a:pt x="552" y="226"/>
                  </a:cubicBezTo>
                  <a:cubicBezTo>
                    <a:pt x="402" y="259"/>
                    <a:pt x="268" y="326"/>
                    <a:pt x="168" y="427"/>
                  </a:cubicBezTo>
                  <a:cubicBezTo>
                    <a:pt x="68" y="510"/>
                    <a:pt x="1" y="644"/>
                    <a:pt x="18" y="761"/>
                  </a:cubicBezTo>
                  <a:cubicBezTo>
                    <a:pt x="18" y="861"/>
                    <a:pt x="68" y="944"/>
                    <a:pt x="151" y="978"/>
                  </a:cubicBezTo>
                  <a:cubicBezTo>
                    <a:pt x="190" y="997"/>
                    <a:pt x="218" y="1006"/>
                    <a:pt x="234" y="1006"/>
                  </a:cubicBezTo>
                  <a:cubicBezTo>
                    <a:pt x="246" y="1006"/>
                    <a:pt x="252" y="1002"/>
                    <a:pt x="252" y="995"/>
                  </a:cubicBezTo>
                  <a:cubicBezTo>
                    <a:pt x="252" y="978"/>
                    <a:pt x="118" y="928"/>
                    <a:pt x="118" y="761"/>
                  </a:cubicBezTo>
                  <a:cubicBezTo>
                    <a:pt x="135" y="677"/>
                    <a:pt x="185" y="577"/>
                    <a:pt x="252" y="527"/>
                  </a:cubicBezTo>
                  <a:cubicBezTo>
                    <a:pt x="368" y="443"/>
                    <a:pt x="485" y="393"/>
                    <a:pt x="602" y="360"/>
                  </a:cubicBezTo>
                  <a:cubicBezTo>
                    <a:pt x="1154" y="193"/>
                    <a:pt x="1605" y="59"/>
                    <a:pt x="1588" y="9"/>
                  </a:cubicBezTo>
                  <a:cubicBezTo>
                    <a:pt x="1585" y="3"/>
                    <a:pt x="1571" y="1"/>
                    <a:pt x="1546" y="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4" name="Google Shape;1774;p40"/>
            <p:cNvSpPr/>
            <p:nvPr/>
          </p:nvSpPr>
          <p:spPr>
            <a:xfrm>
              <a:off x="1191524" y="2320063"/>
              <a:ext cx="748552" cy="477998"/>
            </a:xfrm>
            <a:custGeom>
              <a:avLst/>
              <a:gdLst/>
              <a:ahLst/>
              <a:cxnLst/>
              <a:rect l="l" t="t" r="r" b="b"/>
              <a:pathLst>
                <a:path w="23343" h="14906" extrusionOk="0">
                  <a:moveTo>
                    <a:pt x="6985" y="1"/>
                  </a:moveTo>
                  <a:lnTo>
                    <a:pt x="1" y="1337"/>
                  </a:lnTo>
                  <a:cubicBezTo>
                    <a:pt x="352" y="3610"/>
                    <a:pt x="2056" y="7536"/>
                    <a:pt x="3543" y="10962"/>
                  </a:cubicBezTo>
                  <a:cubicBezTo>
                    <a:pt x="5030" y="14370"/>
                    <a:pt x="6250" y="14855"/>
                    <a:pt x="10477" y="14905"/>
                  </a:cubicBezTo>
                  <a:cubicBezTo>
                    <a:pt x="10514" y="14905"/>
                    <a:pt x="10552" y="14905"/>
                    <a:pt x="10589" y="14905"/>
                  </a:cubicBezTo>
                  <a:cubicBezTo>
                    <a:pt x="15142" y="14905"/>
                    <a:pt x="23343" y="11931"/>
                    <a:pt x="23343" y="11931"/>
                  </a:cubicBezTo>
                  <a:lnTo>
                    <a:pt x="21755" y="6484"/>
                  </a:lnTo>
                  <a:cubicBezTo>
                    <a:pt x="21755" y="6484"/>
                    <a:pt x="12730" y="8321"/>
                    <a:pt x="10787" y="8321"/>
                  </a:cubicBezTo>
                  <a:cubicBezTo>
                    <a:pt x="10642" y="8321"/>
                    <a:pt x="10536" y="8310"/>
                    <a:pt x="10477" y="8288"/>
                  </a:cubicBezTo>
                  <a:cubicBezTo>
                    <a:pt x="9625" y="7971"/>
                    <a:pt x="8856" y="5331"/>
                    <a:pt x="8171" y="3526"/>
                  </a:cubicBezTo>
                  <a:cubicBezTo>
                    <a:pt x="8104" y="3343"/>
                    <a:pt x="6985" y="1"/>
                    <a:pt x="6985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5" name="Google Shape;1775;p40"/>
            <p:cNvSpPr/>
            <p:nvPr/>
          </p:nvSpPr>
          <p:spPr>
            <a:xfrm>
              <a:off x="1246712" y="2533857"/>
              <a:ext cx="693909" cy="272766"/>
            </a:xfrm>
            <a:custGeom>
              <a:avLst/>
              <a:gdLst/>
              <a:ahLst/>
              <a:cxnLst/>
              <a:rect l="l" t="t" r="r" b="b"/>
              <a:pathLst>
                <a:path w="21639" h="8506" extrusionOk="0">
                  <a:moveTo>
                    <a:pt x="1" y="1"/>
                  </a:moveTo>
                  <a:lnTo>
                    <a:pt x="1" y="1"/>
                  </a:lnTo>
                  <a:cubicBezTo>
                    <a:pt x="34" y="84"/>
                    <a:pt x="68" y="168"/>
                    <a:pt x="101" y="251"/>
                  </a:cubicBezTo>
                  <a:cubicBezTo>
                    <a:pt x="168" y="402"/>
                    <a:pt x="251" y="652"/>
                    <a:pt x="385" y="953"/>
                  </a:cubicBezTo>
                  <a:cubicBezTo>
                    <a:pt x="652" y="1571"/>
                    <a:pt x="1037" y="2457"/>
                    <a:pt x="1605" y="3509"/>
                  </a:cubicBezTo>
                  <a:cubicBezTo>
                    <a:pt x="2173" y="4562"/>
                    <a:pt x="2925" y="5798"/>
                    <a:pt x="4094" y="6884"/>
                  </a:cubicBezTo>
                  <a:cubicBezTo>
                    <a:pt x="4713" y="7453"/>
                    <a:pt x="5431" y="7904"/>
                    <a:pt x="6216" y="8188"/>
                  </a:cubicBezTo>
                  <a:cubicBezTo>
                    <a:pt x="6634" y="8321"/>
                    <a:pt x="7068" y="8422"/>
                    <a:pt x="7503" y="8455"/>
                  </a:cubicBezTo>
                  <a:cubicBezTo>
                    <a:pt x="7794" y="8487"/>
                    <a:pt x="8092" y="8506"/>
                    <a:pt x="8389" y="8506"/>
                  </a:cubicBezTo>
                  <a:cubicBezTo>
                    <a:pt x="8551" y="8506"/>
                    <a:pt x="8713" y="8500"/>
                    <a:pt x="8873" y="8488"/>
                  </a:cubicBezTo>
                  <a:cubicBezTo>
                    <a:pt x="10694" y="8405"/>
                    <a:pt x="12398" y="7987"/>
                    <a:pt x="13936" y="7603"/>
                  </a:cubicBezTo>
                  <a:cubicBezTo>
                    <a:pt x="15456" y="7219"/>
                    <a:pt x="16843" y="6851"/>
                    <a:pt x="17979" y="6517"/>
                  </a:cubicBezTo>
                  <a:cubicBezTo>
                    <a:pt x="19132" y="6183"/>
                    <a:pt x="20051" y="5882"/>
                    <a:pt x="20669" y="5648"/>
                  </a:cubicBezTo>
                  <a:cubicBezTo>
                    <a:pt x="20987" y="5531"/>
                    <a:pt x="21221" y="5431"/>
                    <a:pt x="21388" y="5364"/>
                  </a:cubicBezTo>
                  <a:cubicBezTo>
                    <a:pt x="21471" y="5347"/>
                    <a:pt x="21555" y="5297"/>
                    <a:pt x="21638" y="5264"/>
                  </a:cubicBezTo>
                  <a:lnTo>
                    <a:pt x="21638" y="5264"/>
                  </a:lnTo>
                  <a:cubicBezTo>
                    <a:pt x="21555" y="5280"/>
                    <a:pt x="21455" y="5297"/>
                    <a:pt x="21388" y="5331"/>
                  </a:cubicBezTo>
                  <a:cubicBezTo>
                    <a:pt x="21204" y="5397"/>
                    <a:pt x="20953" y="5481"/>
                    <a:pt x="20653" y="5581"/>
                  </a:cubicBezTo>
                  <a:cubicBezTo>
                    <a:pt x="20018" y="5798"/>
                    <a:pt x="19099" y="6082"/>
                    <a:pt x="17946" y="6417"/>
                  </a:cubicBezTo>
                  <a:cubicBezTo>
                    <a:pt x="16810" y="6734"/>
                    <a:pt x="15423" y="7085"/>
                    <a:pt x="13902" y="7469"/>
                  </a:cubicBezTo>
                  <a:cubicBezTo>
                    <a:pt x="12365" y="7837"/>
                    <a:pt x="10678" y="8255"/>
                    <a:pt x="8856" y="8338"/>
                  </a:cubicBezTo>
                  <a:cubicBezTo>
                    <a:pt x="8740" y="8343"/>
                    <a:pt x="8622" y="8345"/>
                    <a:pt x="8504" y="8345"/>
                  </a:cubicBezTo>
                  <a:cubicBezTo>
                    <a:pt x="8180" y="8345"/>
                    <a:pt x="7850" y="8329"/>
                    <a:pt x="7520" y="8305"/>
                  </a:cubicBezTo>
                  <a:cubicBezTo>
                    <a:pt x="7102" y="8271"/>
                    <a:pt x="6667" y="8171"/>
                    <a:pt x="6266" y="8037"/>
                  </a:cubicBezTo>
                  <a:cubicBezTo>
                    <a:pt x="5498" y="7770"/>
                    <a:pt x="4796" y="7336"/>
                    <a:pt x="4195" y="6784"/>
                  </a:cubicBezTo>
                  <a:cubicBezTo>
                    <a:pt x="3025" y="5715"/>
                    <a:pt x="2273" y="4495"/>
                    <a:pt x="1688" y="3459"/>
                  </a:cubicBezTo>
                  <a:cubicBezTo>
                    <a:pt x="1120" y="2423"/>
                    <a:pt x="719" y="1538"/>
                    <a:pt x="452" y="936"/>
                  </a:cubicBezTo>
                  <a:cubicBezTo>
                    <a:pt x="318" y="635"/>
                    <a:pt x="201" y="402"/>
                    <a:pt x="134" y="234"/>
                  </a:cubicBezTo>
                  <a:cubicBezTo>
                    <a:pt x="101" y="151"/>
                    <a:pt x="51" y="67"/>
                    <a:pt x="1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6" name="Google Shape;1776;p40"/>
            <p:cNvSpPr/>
            <p:nvPr/>
          </p:nvSpPr>
          <p:spPr>
            <a:xfrm>
              <a:off x="842180" y="2179704"/>
              <a:ext cx="611399" cy="807460"/>
            </a:xfrm>
            <a:custGeom>
              <a:avLst/>
              <a:gdLst/>
              <a:ahLst/>
              <a:cxnLst/>
              <a:rect l="l" t="t" r="r" b="b"/>
              <a:pathLst>
                <a:path w="19066" h="25180" extrusionOk="0">
                  <a:moveTo>
                    <a:pt x="5548" y="0"/>
                  </a:moveTo>
                  <a:cubicBezTo>
                    <a:pt x="5548" y="0"/>
                    <a:pt x="17" y="552"/>
                    <a:pt x="1" y="6968"/>
                  </a:cubicBezTo>
                  <a:cubicBezTo>
                    <a:pt x="1" y="9975"/>
                    <a:pt x="3326" y="15806"/>
                    <a:pt x="3894" y="17243"/>
                  </a:cubicBezTo>
                  <a:cubicBezTo>
                    <a:pt x="3326" y="19048"/>
                    <a:pt x="1655" y="21872"/>
                    <a:pt x="1287" y="24027"/>
                  </a:cubicBezTo>
                  <a:lnTo>
                    <a:pt x="17043" y="25180"/>
                  </a:lnTo>
                  <a:lnTo>
                    <a:pt x="17394" y="15723"/>
                  </a:lnTo>
                  <a:lnTo>
                    <a:pt x="18096" y="11128"/>
                  </a:lnTo>
                  <a:lnTo>
                    <a:pt x="19065" y="8137"/>
                  </a:lnTo>
                  <a:cubicBezTo>
                    <a:pt x="17489" y="1127"/>
                    <a:pt x="14797" y="711"/>
                    <a:pt x="14181" y="711"/>
                  </a:cubicBezTo>
                  <a:cubicBezTo>
                    <a:pt x="14098" y="711"/>
                    <a:pt x="14053" y="719"/>
                    <a:pt x="14053" y="719"/>
                  </a:cubicBezTo>
                  <a:lnTo>
                    <a:pt x="554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7" name="Google Shape;1777;p40"/>
            <p:cNvSpPr/>
            <p:nvPr/>
          </p:nvSpPr>
          <p:spPr>
            <a:xfrm>
              <a:off x="1357088" y="2401514"/>
              <a:ext cx="71286" cy="282386"/>
            </a:xfrm>
            <a:custGeom>
              <a:avLst/>
              <a:gdLst/>
              <a:ahLst/>
              <a:cxnLst/>
              <a:rect l="l" t="t" r="r" b="b"/>
              <a:pathLst>
                <a:path w="2223" h="8806" extrusionOk="0">
                  <a:moveTo>
                    <a:pt x="34" y="1"/>
                  </a:moveTo>
                  <a:lnTo>
                    <a:pt x="34" y="1"/>
                  </a:lnTo>
                  <a:cubicBezTo>
                    <a:pt x="1" y="34"/>
                    <a:pt x="418" y="385"/>
                    <a:pt x="986" y="1036"/>
                  </a:cubicBezTo>
                  <a:cubicBezTo>
                    <a:pt x="1321" y="1404"/>
                    <a:pt x="1588" y="1838"/>
                    <a:pt x="1789" y="2290"/>
                  </a:cubicBezTo>
                  <a:cubicBezTo>
                    <a:pt x="2006" y="2874"/>
                    <a:pt x="2073" y="3493"/>
                    <a:pt x="1972" y="4094"/>
                  </a:cubicBezTo>
                  <a:cubicBezTo>
                    <a:pt x="1889" y="4696"/>
                    <a:pt x="1738" y="5314"/>
                    <a:pt x="1571" y="5899"/>
                  </a:cubicBezTo>
                  <a:cubicBezTo>
                    <a:pt x="1421" y="6383"/>
                    <a:pt x="1321" y="6884"/>
                    <a:pt x="1237" y="7402"/>
                  </a:cubicBezTo>
                  <a:cubicBezTo>
                    <a:pt x="1204" y="7737"/>
                    <a:pt x="1204" y="8087"/>
                    <a:pt x="1237" y="8438"/>
                  </a:cubicBezTo>
                  <a:cubicBezTo>
                    <a:pt x="1254" y="8555"/>
                    <a:pt x="1287" y="8689"/>
                    <a:pt x="1337" y="8806"/>
                  </a:cubicBezTo>
                  <a:cubicBezTo>
                    <a:pt x="1337" y="8672"/>
                    <a:pt x="1321" y="8555"/>
                    <a:pt x="1304" y="8422"/>
                  </a:cubicBezTo>
                  <a:cubicBezTo>
                    <a:pt x="1287" y="8087"/>
                    <a:pt x="1304" y="7753"/>
                    <a:pt x="1354" y="7419"/>
                  </a:cubicBezTo>
                  <a:cubicBezTo>
                    <a:pt x="1438" y="6918"/>
                    <a:pt x="1555" y="6417"/>
                    <a:pt x="1705" y="5932"/>
                  </a:cubicBezTo>
                  <a:cubicBezTo>
                    <a:pt x="1889" y="5347"/>
                    <a:pt x="2039" y="4729"/>
                    <a:pt x="2139" y="4111"/>
                  </a:cubicBezTo>
                  <a:cubicBezTo>
                    <a:pt x="2223" y="3476"/>
                    <a:pt x="2156" y="2841"/>
                    <a:pt x="1922" y="2239"/>
                  </a:cubicBezTo>
                  <a:cubicBezTo>
                    <a:pt x="1705" y="1772"/>
                    <a:pt x="1421" y="1337"/>
                    <a:pt x="1070" y="953"/>
                  </a:cubicBezTo>
                  <a:cubicBezTo>
                    <a:pt x="836" y="702"/>
                    <a:pt x="585" y="468"/>
                    <a:pt x="318" y="234"/>
                  </a:cubicBezTo>
                  <a:cubicBezTo>
                    <a:pt x="235" y="151"/>
                    <a:pt x="134" y="67"/>
                    <a:pt x="3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8" name="Google Shape;1778;p40"/>
            <p:cNvSpPr/>
            <p:nvPr/>
          </p:nvSpPr>
          <p:spPr>
            <a:xfrm>
              <a:off x="1270827" y="2275072"/>
              <a:ext cx="65931" cy="67566"/>
            </a:xfrm>
            <a:custGeom>
              <a:avLst/>
              <a:gdLst/>
              <a:ahLst/>
              <a:cxnLst/>
              <a:rect l="l" t="t" r="r" b="b"/>
              <a:pathLst>
                <a:path w="2056" h="2107" extrusionOk="0">
                  <a:moveTo>
                    <a:pt x="1120" y="0"/>
                  </a:moveTo>
                  <a:cubicBezTo>
                    <a:pt x="903" y="0"/>
                    <a:pt x="686" y="67"/>
                    <a:pt x="502" y="184"/>
                  </a:cubicBezTo>
                  <a:cubicBezTo>
                    <a:pt x="218" y="368"/>
                    <a:pt x="34" y="669"/>
                    <a:pt x="17" y="1020"/>
                  </a:cubicBezTo>
                  <a:cubicBezTo>
                    <a:pt x="1" y="1437"/>
                    <a:pt x="235" y="1838"/>
                    <a:pt x="619" y="2022"/>
                  </a:cubicBezTo>
                  <a:cubicBezTo>
                    <a:pt x="756" y="2079"/>
                    <a:pt x="898" y="2107"/>
                    <a:pt x="1039" y="2107"/>
                  </a:cubicBezTo>
                  <a:cubicBezTo>
                    <a:pt x="1310" y="2107"/>
                    <a:pt x="1574" y="2003"/>
                    <a:pt x="1772" y="1805"/>
                  </a:cubicBezTo>
                  <a:cubicBezTo>
                    <a:pt x="1905" y="1671"/>
                    <a:pt x="1989" y="1504"/>
                    <a:pt x="2022" y="1337"/>
                  </a:cubicBezTo>
                  <a:cubicBezTo>
                    <a:pt x="2056" y="1170"/>
                    <a:pt x="2039" y="1020"/>
                    <a:pt x="1989" y="869"/>
                  </a:cubicBezTo>
                  <a:cubicBezTo>
                    <a:pt x="1922" y="652"/>
                    <a:pt x="1772" y="468"/>
                    <a:pt x="1588" y="351"/>
                  </a:cubicBezTo>
                  <a:cubicBezTo>
                    <a:pt x="1521" y="301"/>
                    <a:pt x="1438" y="284"/>
                    <a:pt x="1354" y="284"/>
                  </a:cubicBezTo>
                  <a:cubicBezTo>
                    <a:pt x="1354" y="301"/>
                    <a:pt x="1438" y="318"/>
                    <a:pt x="1555" y="401"/>
                  </a:cubicBezTo>
                  <a:cubicBezTo>
                    <a:pt x="1722" y="535"/>
                    <a:pt x="1822" y="702"/>
                    <a:pt x="1889" y="903"/>
                  </a:cubicBezTo>
                  <a:cubicBezTo>
                    <a:pt x="1972" y="1187"/>
                    <a:pt x="1889" y="1504"/>
                    <a:pt x="1671" y="1705"/>
                  </a:cubicBezTo>
                  <a:cubicBezTo>
                    <a:pt x="1495" y="1870"/>
                    <a:pt x="1266" y="1956"/>
                    <a:pt x="1035" y="1956"/>
                  </a:cubicBezTo>
                  <a:cubicBezTo>
                    <a:pt x="917" y="1956"/>
                    <a:pt x="799" y="1934"/>
                    <a:pt x="686" y="1888"/>
                  </a:cubicBezTo>
                  <a:cubicBezTo>
                    <a:pt x="368" y="1721"/>
                    <a:pt x="151" y="1387"/>
                    <a:pt x="168" y="1020"/>
                  </a:cubicBezTo>
                  <a:cubicBezTo>
                    <a:pt x="168" y="719"/>
                    <a:pt x="318" y="435"/>
                    <a:pt x="569" y="268"/>
                  </a:cubicBezTo>
                  <a:cubicBezTo>
                    <a:pt x="736" y="151"/>
                    <a:pt x="920" y="84"/>
                    <a:pt x="1120" y="67"/>
                  </a:cubicBezTo>
                  <a:cubicBezTo>
                    <a:pt x="1204" y="67"/>
                    <a:pt x="1287" y="50"/>
                    <a:pt x="1354" y="50"/>
                  </a:cubicBezTo>
                  <a:cubicBezTo>
                    <a:pt x="1287" y="17"/>
                    <a:pt x="1204" y="0"/>
                    <a:pt x="112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9" name="Google Shape;1779;p40"/>
            <p:cNvSpPr/>
            <p:nvPr/>
          </p:nvSpPr>
          <p:spPr>
            <a:xfrm>
              <a:off x="1114914" y="2384358"/>
              <a:ext cx="65386" cy="67598"/>
            </a:xfrm>
            <a:custGeom>
              <a:avLst/>
              <a:gdLst/>
              <a:ahLst/>
              <a:cxnLst/>
              <a:rect l="l" t="t" r="r" b="b"/>
              <a:pathLst>
                <a:path w="2039" h="2108" extrusionOk="0">
                  <a:moveTo>
                    <a:pt x="1120" y="1"/>
                  </a:moveTo>
                  <a:cubicBezTo>
                    <a:pt x="886" y="1"/>
                    <a:pt x="669" y="51"/>
                    <a:pt x="485" y="185"/>
                  </a:cubicBezTo>
                  <a:cubicBezTo>
                    <a:pt x="201" y="368"/>
                    <a:pt x="17" y="669"/>
                    <a:pt x="17" y="1020"/>
                  </a:cubicBezTo>
                  <a:cubicBezTo>
                    <a:pt x="0" y="1438"/>
                    <a:pt x="234" y="1839"/>
                    <a:pt x="602" y="2023"/>
                  </a:cubicBezTo>
                  <a:cubicBezTo>
                    <a:pt x="739" y="2080"/>
                    <a:pt x="881" y="2107"/>
                    <a:pt x="1022" y="2107"/>
                  </a:cubicBezTo>
                  <a:cubicBezTo>
                    <a:pt x="1293" y="2107"/>
                    <a:pt x="1557" y="2004"/>
                    <a:pt x="1755" y="1805"/>
                  </a:cubicBezTo>
                  <a:cubicBezTo>
                    <a:pt x="1888" y="1672"/>
                    <a:pt x="1972" y="1505"/>
                    <a:pt x="2005" y="1338"/>
                  </a:cubicBezTo>
                  <a:cubicBezTo>
                    <a:pt x="2039" y="1170"/>
                    <a:pt x="2022" y="1020"/>
                    <a:pt x="1972" y="870"/>
                  </a:cubicBezTo>
                  <a:cubicBezTo>
                    <a:pt x="1905" y="652"/>
                    <a:pt x="1772" y="469"/>
                    <a:pt x="1571" y="352"/>
                  </a:cubicBezTo>
                  <a:cubicBezTo>
                    <a:pt x="1504" y="302"/>
                    <a:pt x="1437" y="285"/>
                    <a:pt x="1354" y="285"/>
                  </a:cubicBezTo>
                  <a:cubicBezTo>
                    <a:pt x="1337" y="285"/>
                    <a:pt x="1421" y="318"/>
                    <a:pt x="1538" y="402"/>
                  </a:cubicBezTo>
                  <a:cubicBezTo>
                    <a:pt x="1705" y="536"/>
                    <a:pt x="1822" y="703"/>
                    <a:pt x="1872" y="903"/>
                  </a:cubicBezTo>
                  <a:cubicBezTo>
                    <a:pt x="1955" y="1187"/>
                    <a:pt x="1872" y="1488"/>
                    <a:pt x="1655" y="1705"/>
                  </a:cubicBezTo>
                  <a:cubicBezTo>
                    <a:pt x="1489" y="1871"/>
                    <a:pt x="1257" y="1956"/>
                    <a:pt x="1022" y="1956"/>
                  </a:cubicBezTo>
                  <a:cubicBezTo>
                    <a:pt x="902" y="1956"/>
                    <a:pt x="782" y="1934"/>
                    <a:pt x="669" y="1889"/>
                  </a:cubicBezTo>
                  <a:cubicBezTo>
                    <a:pt x="351" y="1722"/>
                    <a:pt x="151" y="1388"/>
                    <a:pt x="151" y="1020"/>
                  </a:cubicBezTo>
                  <a:cubicBezTo>
                    <a:pt x="151" y="719"/>
                    <a:pt x="301" y="435"/>
                    <a:pt x="552" y="268"/>
                  </a:cubicBezTo>
                  <a:cubicBezTo>
                    <a:pt x="719" y="151"/>
                    <a:pt x="919" y="84"/>
                    <a:pt x="1120" y="51"/>
                  </a:cubicBezTo>
                  <a:cubicBezTo>
                    <a:pt x="1142" y="57"/>
                    <a:pt x="1166" y="58"/>
                    <a:pt x="1192" y="58"/>
                  </a:cubicBezTo>
                  <a:cubicBezTo>
                    <a:pt x="1242" y="58"/>
                    <a:pt x="1298" y="51"/>
                    <a:pt x="1354" y="51"/>
                  </a:cubicBezTo>
                  <a:cubicBezTo>
                    <a:pt x="1270" y="18"/>
                    <a:pt x="1203" y="1"/>
                    <a:pt x="112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0" name="Google Shape;1780;p40"/>
            <p:cNvSpPr/>
            <p:nvPr/>
          </p:nvSpPr>
          <p:spPr>
            <a:xfrm>
              <a:off x="1277272" y="2490470"/>
              <a:ext cx="65386" cy="67983"/>
            </a:xfrm>
            <a:custGeom>
              <a:avLst/>
              <a:gdLst/>
              <a:ahLst/>
              <a:cxnLst/>
              <a:rect l="l" t="t" r="r" b="b"/>
              <a:pathLst>
                <a:path w="2039" h="2120" extrusionOk="0">
                  <a:moveTo>
                    <a:pt x="1120" y="0"/>
                  </a:moveTo>
                  <a:cubicBezTo>
                    <a:pt x="902" y="0"/>
                    <a:pt x="685" y="67"/>
                    <a:pt x="501" y="184"/>
                  </a:cubicBezTo>
                  <a:cubicBezTo>
                    <a:pt x="201" y="368"/>
                    <a:pt x="34" y="685"/>
                    <a:pt x="17" y="1019"/>
                  </a:cubicBezTo>
                  <a:cubicBezTo>
                    <a:pt x="0" y="1454"/>
                    <a:pt x="234" y="1838"/>
                    <a:pt x="618" y="2039"/>
                  </a:cubicBezTo>
                  <a:cubicBezTo>
                    <a:pt x="749" y="2093"/>
                    <a:pt x="885" y="2119"/>
                    <a:pt x="1019" y="2119"/>
                  </a:cubicBezTo>
                  <a:cubicBezTo>
                    <a:pt x="1297" y="2119"/>
                    <a:pt x="1568" y="2007"/>
                    <a:pt x="1771" y="1805"/>
                  </a:cubicBezTo>
                  <a:cubicBezTo>
                    <a:pt x="1905" y="1688"/>
                    <a:pt x="1988" y="1521"/>
                    <a:pt x="2022" y="1337"/>
                  </a:cubicBezTo>
                  <a:cubicBezTo>
                    <a:pt x="2039" y="1186"/>
                    <a:pt x="2039" y="1019"/>
                    <a:pt x="1988" y="869"/>
                  </a:cubicBezTo>
                  <a:cubicBezTo>
                    <a:pt x="1922" y="668"/>
                    <a:pt x="1771" y="485"/>
                    <a:pt x="1587" y="368"/>
                  </a:cubicBezTo>
                  <a:cubicBezTo>
                    <a:pt x="1521" y="318"/>
                    <a:pt x="1437" y="284"/>
                    <a:pt x="1354" y="284"/>
                  </a:cubicBezTo>
                  <a:cubicBezTo>
                    <a:pt x="1354" y="301"/>
                    <a:pt x="1437" y="318"/>
                    <a:pt x="1554" y="418"/>
                  </a:cubicBezTo>
                  <a:cubicBezTo>
                    <a:pt x="1704" y="535"/>
                    <a:pt x="1821" y="719"/>
                    <a:pt x="1888" y="902"/>
                  </a:cubicBezTo>
                  <a:cubicBezTo>
                    <a:pt x="1972" y="1186"/>
                    <a:pt x="1888" y="1504"/>
                    <a:pt x="1671" y="1704"/>
                  </a:cubicBezTo>
                  <a:cubicBezTo>
                    <a:pt x="1494" y="1870"/>
                    <a:pt x="1266" y="1963"/>
                    <a:pt x="1034" y="1963"/>
                  </a:cubicBezTo>
                  <a:cubicBezTo>
                    <a:pt x="917" y="1963"/>
                    <a:pt x="798" y="1939"/>
                    <a:pt x="685" y="1888"/>
                  </a:cubicBezTo>
                  <a:cubicBezTo>
                    <a:pt x="351" y="1721"/>
                    <a:pt x="150" y="1387"/>
                    <a:pt x="167" y="1019"/>
                  </a:cubicBezTo>
                  <a:cubicBezTo>
                    <a:pt x="167" y="719"/>
                    <a:pt x="318" y="451"/>
                    <a:pt x="568" y="284"/>
                  </a:cubicBezTo>
                  <a:cubicBezTo>
                    <a:pt x="719" y="150"/>
                    <a:pt x="919" y="84"/>
                    <a:pt x="1120" y="67"/>
                  </a:cubicBezTo>
                  <a:cubicBezTo>
                    <a:pt x="1203" y="67"/>
                    <a:pt x="1287" y="67"/>
                    <a:pt x="1354" y="50"/>
                  </a:cubicBezTo>
                  <a:cubicBezTo>
                    <a:pt x="1287" y="17"/>
                    <a:pt x="1203" y="0"/>
                    <a:pt x="112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1" name="Google Shape;1781;p40"/>
            <p:cNvSpPr/>
            <p:nvPr/>
          </p:nvSpPr>
          <p:spPr>
            <a:xfrm>
              <a:off x="1431036" y="2585293"/>
              <a:ext cx="65386" cy="67598"/>
            </a:xfrm>
            <a:custGeom>
              <a:avLst/>
              <a:gdLst/>
              <a:ahLst/>
              <a:cxnLst/>
              <a:rect l="l" t="t" r="r" b="b"/>
              <a:pathLst>
                <a:path w="2039" h="2108" extrusionOk="0">
                  <a:moveTo>
                    <a:pt x="1120" y="1"/>
                  </a:moveTo>
                  <a:cubicBezTo>
                    <a:pt x="903" y="1"/>
                    <a:pt x="686" y="67"/>
                    <a:pt x="502" y="184"/>
                  </a:cubicBezTo>
                  <a:cubicBezTo>
                    <a:pt x="201" y="368"/>
                    <a:pt x="34" y="669"/>
                    <a:pt x="17" y="1020"/>
                  </a:cubicBezTo>
                  <a:cubicBezTo>
                    <a:pt x="0" y="1437"/>
                    <a:pt x="234" y="1838"/>
                    <a:pt x="619" y="2022"/>
                  </a:cubicBezTo>
                  <a:cubicBezTo>
                    <a:pt x="750" y="2079"/>
                    <a:pt x="891" y="2107"/>
                    <a:pt x="1031" y="2107"/>
                  </a:cubicBezTo>
                  <a:cubicBezTo>
                    <a:pt x="1303" y="2107"/>
                    <a:pt x="1573" y="2003"/>
                    <a:pt x="1772" y="1805"/>
                  </a:cubicBezTo>
                  <a:cubicBezTo>
                    <a:pt x="1905" y="1671"/>
                    <a:pt x="1989" y="1504"/>
                    <a:pt x="2022" y="1337"/>
                  </a:cubicBezTo>
                  <a:cubicBezTo>
                    <a:pt x="2039" y="1170"/>
                    <a:pt x="2039" y="1020"/>
                    <a:pt x="1989" y="869"/>
                  </a:cubicBezTo>
                  <a:cubicBezTo>
                    <a:pt x="1922" y="652"/>
                    <a:pt x="1772" y="468"/>
                    <a:pt x="1588" y="351"/>
                  </a:cubicBezTo>
                  <a:cubicBezTo>
                    <a:pt x="1521" y="301"/>
                    <a:pt x="1437" y="285"/>
                    <a:pt x="1354" y="285"/>
                  </a:cubicBezTo>
                  <a:cubicBezTo>
                    <a:pt x="1354" y="285"/>
                    <a:pt x="1437" y="318"/>
                    <a:pt x="1554" y="402"/>
                  </a:cubicBezTo>
                  <a:cubicBezTo>
                    <a:pt x="1705" y="535"/>
                    <a:pt x="1822" y="702"/>
                    <a:pt x="1872" y="903"/>
                  </a:cubicBezTo>
                  <a:cubicBezTo>
                    <a:pt x="1972" y="1187"/>
                    <a:pt x="1889" y="1504"/>
                    <a:pt x="1671" y="1705"/>
                  </a:cubicBezTo>
                  <a:cubicBezTo>
                    <a:pt x="1494" y="1871"/>
                    <a:pt x="1266" y="1956"/>
                    <a:pt x="1035" y="1956"/>
                  </a:cubicBezTo>
                  <a:cubicBezTo>
                    <a:pt x="917" y="1956"/>
                    <a:pt x="799" y="1934"/>
                    <a:pt x="686" y="1889"/>
                  </a:cubicBezTo>
                  <a:cubicBezTo>
                    <a:pt x="351" y="1722"/>
                    <a:pt x="151" y="1387"/>
                    <a:pt x="151" y="1020"/>
                  </a:cubicBezTo>
                  <a:cubicBezTo>
                    <a:pt x="168" y="719"/>
                    <a:pt x="318" y="435"/>
                    <a:pt x="552" y="268"/>
                  </a:cubicBezTo>
                  <a:cubicBezTo>
                    <a:pt x="719" y="151"/>
                    <a:pt x="919" y="84"/>
                    <a:pt x="1120" y="67"/>
                  </a:cubicBezTo>
                  <a:cubicBezTo>
                    <a:pt x="1203" y="67"/>
                    <a:pt x="1270" y="51"/>
                    <a:pt x="1354" y="51"/>
                  </a:cubicBezTo>
                  <a:cubicBezTo>
                    <a:pt x="1287" y="17"/>
                    <a:pt x="1203" y="1"/>
                    <a:pt x="112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2" name="Google Shape;1782;p40"/>
            <p:cNvSpPr/>
            <p:nvPr/>
          </p:nvSpPr>
          <p:spPr>
            <a:xfrm>
              <a:off x="955250" y="2851582"/>
              <a:ext cx="65386" cy="67983"/>
            </a:xfrm>
            <a:custGeom>
              <a:avLst/>
              <a:gdLst/>
              <a:ahLst/>
              <a:cxnLst/>
              <a:rect l="l" t="t" r="r" b="b"/>
              <a:pathLst>
                <a:path w="2039" h="2120" extrusionOk="0">
                  <a:moveTo>
                    <a:pt x="1120" y="1"/>
                  </a:moveTo>
                  <a:cubicBezTo>
                    <a:pt x="903" y="1"/>
                    <a:pt x="685" y="67"/>
                    <a:pt x="502" y="184"/>
                  </a:cubicBezTo>
                  <a:cubicBezTo>
                    <a:pt x="201" y="368"/>
                    <a:pt x="17" y="686"/>
                    <a:pt x="17" y="1020"/>
                  </a:cubicBezTo>
                  <a:cubicBezTo>
                    <a:pt x="0" y="1454"/>
                    <a:pt x="234" y="1839"/>
                    <a:pt x="618" y="2039"/>
                  </a:cubicBezTo>
                  <a:cubicBezTo>
                    <a:pt x="744" y="2094"/>
                    <a:pt x="876" y="2120"/>
                    <a:pt x="1008" y="2120"/>
                  </a:cubicBezTo>
                  <a:cubicBezTo>
                    <a:pt x="1283" y="2120"/>
                    <a:pt x="1557" y="2008"/>
                    <a:pt x="1771" y="1805"/>
                  </a:cubicBezTo>
                  <a:cubicBezTo>
                    <a:pt x="1888" y="1688"/>
                    <a:pt x="1989" y="1521"/>
                    <a:pt x="2022" y="1337"/>
                  </a:cubicBezTo>
                  <a:cubicBezTo>
                    <a:pt x="2039" y="1187"/>
                    <a:pt x="2022" y="1020"/>
                    <a:pt x="1972" y="870"/>
                  </a:cubicBezTo>
                  <a:cubicBezTo>
                    <a:pt x="1905" y="669"/>
                    <a:pt x="1771" y="485"/>
                    <a:pt x="1571" y="368"/>
                  </a:cubicBezTo>
                  <a:cubicBezTo>
                    <a:pt x="1521" y="318"/>
                    <a:pt x="1437" y="285"/>
                    <a:pt x="1354" y="285"/>
                  </a:cubicBezTo>
                  <a:cubicBezTo>
                    <a:pt x="1354" y="301"/>
                    <a:pt x="1437" y="318"/>
                    <a:pt x="1554" y="418"/>
                  </a:cubicBezTo>
                  <a:cubicBezTo>
                    <a:pt x="1705" y="535"/>
                    <a:pt x="1821" y="719"/>
                    <a:pt x="1872" y="903"/>
                  </a:cubicBezTo>
                  <a:cubicBezTo>
                    <a:pt x="1972" y="1187"/>
                    <a:pt x="1888" y="1504"/>
                    <a:pt x="1671" y="1705"/>
                  </a:cubicBezTo>
                  <a:cubicBezTo>
                    <a:pt x="1494" y="1871"/>
                    <a:pt x="1266" y="1964"/>
                    <a:pt x="1035" y="1964"/>
                  </a:cubicBezTo>
                  <a:cubicBezTo>
                    <a:pt x="917" y="1964"/>
                    <a:pt x="798" y="1940"/>
                    <a:pt x="685" y="1889"/>
                  </a:cubicBezTo>
                  <a:cubicBezTo>
                    <a:pt x="351" y="1722"/>
                    <a:pt x="151" y="1387"/>
                    <a:pt x="151" y="1020"/>
                  </a:cubicBezTo>
                  <a:cubicBezTo>
                    <a:pt x="151" y="719"/>
                    <a:pt x="301" y="452"/>
                    <a:pt x="552" y="285"/>
                  </a:cubicBezTo>
                  <a:cubicBezTo>
                    <a:pt x="719" y="151"/>
                    <a:pt x="919" y="84"/>
                    <a:pt x="1120" y="67"/>
                  </a:cubicBezTo>
                  <a:cubicBezTo>
                    <a:pt x="1203" y="67"/>
                    <a:pt x="1270" y="67"/>
                    <a:pt x="1354" y="51"/>
                  </a:cubicBezTo>
                  <a:cubicBezTo>
                    <a:pt x="1287" y="17"/>
                    <a:pt x="1203" y="1"/>
                    <a:pt x="112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3" name="Google Shape;1783;p40"/>
            <p:cNvSpPr/>
            <p:nvPr/>
          </p:nvSpPr>
          <p:spPr>
            <a:xfrm>
              <a:off x="1631426" y="2641027"/>
              <a:ext cx="65386" cy="67566"/>
            </a:xfrm>
            <a:custGeom>
              <a:avLst/>
              <a:gdLst/>
              <a:ahLst/>
              <a:cxnLst/>
              <a:rect l="l" t="t" r="r" b="b"/>
              <a:pathLst>
                <a:path w="2039" h="2107" extrusionOk="0">
                  <a:moveTo>
                    <a:pt x="1120" y="0"/>
                  </a:moveTo>
                  <a:cubicBezTo>
                    <a:pt x="903" y="0"/>
                    <a:pt x="686" y="67"/>
                    <a:pt x="502" y="184"/>
                  </a:cubicBezTo>
                  <a:cubicBezTo>
                    <a:pt x="201" y="368"/>
                    <a:pt x="34" y="685"/>
                    <a:pt x="17" y="1019"/>
                  </a:cubicBezTo>
                  <a:cubicBezTo>
                    <a:pt x="0" y="1437"/>
                    <a:pt x="234" y="1838"/>
                    <a:pt x="619" y="2022"/>
                  </a:cubicBezTo>
                  <a:cubicBezTo>
                    <a:pt x="750" y="2079"/>
                    <a:pt x="891" y="2107"/>
                    <a:pt x="1031" y="2107"/>
                  </a:cubicBezTo>
                  <a:cubicBezTo>
                    <a:pt x="1303" y="2107"/>
                    <a:pt x="1573" y="2003"/>
                    <a:pt x="1772" y="1805"/>
                  </a:cubicBezTo>
                  <a:cubicBezTo>
                    <a:pt x="1905" y="1671"/>
                    <a:pt x="1989" y="1521"/>
                    <a:pt x="2022" y="1337"/>
                  </a:cubicBezTo>
                  <a:cubicBezTo>
                    <a:pt x="2039" y="1170"/>
                    <a:pt x="2022" y="1019"/>
                    <a:pt x="1972" y="869"/>
                  </a:cubicBezTo>
                  <a:cubicBezTo>
                    <a:pt x="1905" y="652"/>
                    <a:pt x="1772" y="468"/>
                    <a:pt x="1588" y="351"/>
                  </a:cubicBezTo>
                  <a:cubicBezTo>
                    <a:pt x="1521" y="301"/>
                    <a:pt x="1437" y="284"/>
                    <a:pt x="1354" y="284"/>
                  </a:cubicBezTo>
                  <a:cubicBezTo>
                    <a:pt x="1354" y="301"/>
                    <a:pt x="1437" y="318"/>
                    <a:pt x="1554" y="401"/>
                  </a:cubicBezTo>
                  <a:cubicBezTo>
                    <a:pt x="1705" y="535"/>
                    <a:pt x="1822" y="702"/>
                    <a:pt x="1872" y="902"/>
                  </a:cubicBezTo>
                  <a:cubicBezTo>
                    <a:pt x="1972" y="1187"/>
                    <a:pt x="1889" y="1504"/>
                    <a:pt x="1671" y="1704"/>
                  </a:cubicBezTo>
                  <a:cubicBezTo>
                    <a:pt x="1494" y="1870"/>
                    <a:pt x="1266" y="1956"/>
                    <a:pt x="1035" y="1956"/>
                  </a:cubicBezTo>
                  <a:cubicBezTo>
                    <a:pt x="917" y="1956"/>
                    <a:pt x="799" y="1933"/>
                    <a:pt x="686" y="1888"/>
                  </a:cubicBezTo>
                  <a:cubicBezTo>
                    <a:pt x="351" y="1721"/>
                    <a:pt x="151" y="1387"/>
                    <a:pt x="151" y="1019"/>
                  </a:cubicBezTo>
                  <a:cubicBezTo>
                    <a:pt x="168" y="719"/>
                    <a:pt x="318" y="435"/>
                    <a:pt x="552" y="268"/>
                  </a:cubicBezTo>
                  <a:cubicBezTo>
                    <a:pt x="719" y="151"/>
                    <a:pt x="919" y="84"/>
                    <a:pt x="1120" y="67"/>
                  </a:cubicBezTo>
                  <a:cubicBezTo>
                    <a:pt x="1203" y="67"/>
                    <a:pt x="1270" y="67"/>
                    <a:pt x="1354" y="50"/>
                  </a:cubicBezTo>
                  <a:cubicBezTo>
                    <a:pt x="1287" y="17"/>
                    <a:pt x="1203" y="0"/>
                    <a:pt x="112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4" name="Google Shape;1784;p40"/>
            <p:cNvSpPr/>
            <p:nvPr/>
          </p:nvSpPr>
          <p:spPr>
            <a:xfrm>
              <a:off x="1199573" y="2602449"/>
              <a:ext cx="65386" cy="67566"/>
            </a:xfrm>
            <a:custGeom>
              <a:avLst/>
              <a:gdLst/>
              <a:ahLst/>
              <a:cxnLst/>
              <a:rect l="l" t="t" r="r" b="b"/>
              <a:pathLst>
                <a:path w="2039" h="2107" extrusionOk="0">
                  <a:moveTo>
                    <a:pt x="1120" y="0"/>
                  </a:moveTo>
                  <a:cubicBezTo>
                    <a:pt x="903" y="0"/>
                    <a:pt x="685" y="67"/>
                    <a:pt x="502" y="184"/>
                  </a:cubicBezTo>
                  <a:cubicBezTo>
                    <a:pt x="201" y="368"/>
                    <a:pt x="34" y="669"/>
                    <a:pt x="17" y="1019"/>
                  </a:cubicBezTo>
                  <a:cubicBezTo>
                    <a:pt x="0" y="1437"/>
                    <a:pt x="234" y="1838"/>
                    <a:pt x="619" y="2022"/>
                  </a:cubicBezTo>
                  <a:cubicBezTo>
                    <a:pt x="755" y="2079"/>
                    <a:pt x="898" y="2107"/>
                    <a:pt x="1038" y="2107"/>
                  </a:cubicBezTo>
                  <a:cubicBezTo>
                    <a:pt x="1310" y="2107"/>
                    <a:pt x="1573" y="2003"/>
                    <a:pt x="1771" y="1805"/>
                  </a:cubicBezTo>
                  <a:cubicBezTo>
                    <a:pt x="1905" y="1671"/>
                    <a:pt x="1989" y="1504"/>
                    <a:pt x="2022" y="1337"/>
                  </a:cubicBezTo>
                  <a:cubicBezTo>
                    <a:pt x="2039" y="1170"/>
                    <a:pt x="2039" y="1019"/>
                    <a:pt x="1989" y="869"/>
                  </a:cubicBezTo>
                  <a:cubicBezTo>
                    <a:pt x="1922" y="652"/>
                    <a:pt x="1771" y="468"/>
                    <a:pt x="1588" y="351"/>
                  </a:cubicBezTo>
                  <a:cubicBezTo>
                    <a:pt x="1521" y="301"/>
                    <a:pt x="1437" y="284"/>
                    <a:pt x="1354" y="284"/>
                  </a:cubicBezTo>
                  <a:cubicBezTo>
                    <a:pt x="1354" y="301"/>
                    <a:pt x="1437" y="318"/>
                    <a:pt x="1554" y="401"/>
                  </a:cubicBezTo>
                  <a:cubicBezTo>
                    <a:pt x="1705" y="535"/>
                    <a:pt x="1822" y="702"/>
                    <a:pt x="1888" y="902"/>
                  </a:cubicBezTo>
                  <a:cubicBezTo>
                    <a:pt x="1972" y="1187"/>
                    <a:pt x="1888" y="1504"/>
                    <a:pt x="1671" y="1704"/>
                  </a:cubicBezTo>
                  <a:cubicBezTo>
                    <a:pt x="1494" y="1870"/>
                    <a:pt x="1266" y="1956"/>
                    <a:pt x="1035" y="1956"/>
                  </a:cubicBezTo>
                  <a:cubicBezTo>
                    <a:pt x="917" y="1956"/>
                    <a:pt x="798" y="1933"/>
                    <a:pt x="685" y="1888"/>
                  </a:cubicBezTo>
                  <a:cubicBezTo>
                    <a:pt x="351" y="1721"/>
                    <a:pt x="151" y="1387"/>
                    <a:pt x="167" y="1019"/>
                  </a:cubicBezTo>
                  <a:cubicBezTo>
                    <a:pt x="167" y="719"/>
                    <a:pt x="318" y="435"/>
                    <a:pt x="552" y="268"/>
                  </a:cubicBezTo>
                  <a:cubicBezTo>
                    <a:pt x="719" y="151"/>
                    <a:pt x="919" y="84"/>
                    <a:pt x="1120" y="67"/>
                  </a:cubicBezTo>
                  <a:cubicBezTo>
                    <a:pt x="1203" y="67"/>
                    <a:pt x="1287" y="50"/>
                    <a:pt x="1354" y="50"/>
                  </a:cubicBezTo>
                  <a:cubicBezTo>
                    <a:pt x="1287" y="17"/>
                    <a:pt x="1203" y="0"/>
                    <a:pt x="112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5" name="Google Shape;1785;p40"/>
            <p:cNvSpPr/>
            <p:nvPr/>
          </p:nvSpPr>
          <p:spPr>
            <a:xfrm>
              <a:off x="1279389" y="2890704"/>
              <a:ext cx="65418" cy="67983"/>
            </a:xfrm>
            <a:custGeom>
              <a:avLst/>
              <a:gdLst/>
              <a:ahLst/>
              <a:cxnLst/>
              <a:rect l="l" t="t" r="r" b="b"/>
              <a:pathLst>
                <a:path w="2040" h="2120" extrusionOk="0">
                  <a:moveTo>
                    <a:pt x="1120" y="0"/>
                  </a:moveTo>
                  <a:cubicBezTo>
                    <a:pt x="903" y="0"/>
                    <a:pt x="686" y="67"/>
                    <a:pt x="502" y="184"/>
                  </a:cubicBezTo>
                  <a:cubicBezTo>
                    <a:pt x="201" y="368"/>
                    <a:pt x="34" y="685"/>
                    <a:pt x="18" y="1020"/>
                  </a:cubicBezTo>
                  <a:cubicBezTo>
                    <a:pt x="1" y="1454"/>
                    <a:pt x="235" y="1838"/>
                    <a:pt x="619" y="2039"/>
                  </a:cubicBezTo>
                  <a:cubicBezTo>
                    <a:pt x="744" y="2093"/>
                    <a:pt x="878" y="2119"/>
                    <a:pt x="1013" y="2119"/>
                  </a:cubicBezTo>
                  <a:cubicBezTo>
                    <a:pt x="1291" y="2119"/>
                    <a:pt x="1569" y="2008"/>
                    <a:pt x="1772" y="1805"/>
                  </a:cubicBezTo>
                  <a:cubicBezTo>
                    <a:pt x="1906" y="1688"/>
                    <a:pt x="1989" y="1521"/>
                    <a:pt x="2023" y="1337"/>
                  </a:cubicBezTo>
                  <a:cubicBezTo>
                    <a:pt x="2039" y="1187"/>
                    <a:pt x="2039" y="1020"/>
                    <a:pt x="1973" y="869"/>
                  </a:cubicBezTo>
                  <a:cubicBezTo>
                    <a:pt x="1906" y="669"/>
                    <a:pt x="1772" y="485"/>
                    <a:pt x="1588" y="368"/>
                  </a:cubicBezTo>
                  <a:cubicBezTo>
                    <a:pt x="1521" y="318"/>
                    <a:pt x="1438" y="284"/>
                    <a:pt x="1354" y="284"/>
                  </a:cubicBezTo>
                  <a:cubicBezTo>
                    <a:pt x="1354" y="301"/>
                    <a:pt x="1438" y="318"/>
                    <a:pt x="1555" y="418"/>
                  </a:cubicBezTo>
                  <a:cubicBezTo>
                    <a:pt x="1705" y="535"/>
                    <a:pt x="1822" y="702"/>
                    <a:pt x="1872" y="903"/>
                  </a:cubicBezTo>
                  <a:cubicBezTo>
                    <a:pt x="1973" y="1187"/>
                    <a:pt x="1889" y="1504"/>
                    <a:pt x="1672" y="1705"/>
                  </a:cubicBezTo>
                  <a:cubicBezTo>
                    <a:pt x="1495" y="1871"/>
                    <a:pt x="1266" y="1963"/>
                    <a:pt x="1035" y="1963"/>
                  </a:cubicBezTo>
                  <a:cubicBezTo>
                    <a:pt x="917" y="1963"/>
                    <a:pt x="799" y="1939"/>
                    <a:pt x="686" y="1888"/>
                  </a:cubicBezTo>
                  <a:cubicBezTo>
                    <a:pt x="352" y="1721"/>
                    <a:pt x="151" y="1387"/>
                    <a:pt x="151" y="1020"/>
                  </a:cubicBezTo>
                  <a:cubicBezTo>
                    <a:pt x="168" y="719"/>
                    <a:pt x="318" y="452"/>
                    <a:pt x="552" y="284"/>
                  </a:cubicBezTo>
                  <a:cubicBezTo>
                    <a:pt x="719" y="151"/>
                    <a:pt x="920" y="84"/>
                    <a:pt x="1120" y="67"/>
                  </a:cubicBezTo>
                  <a:cubicBezTo>
                    <a:pt x="1204" y="67"/>
                    <a:pt x="1271" y="67"/>
                    <a:pt x="1354" y="51"/>
                  </a:cubicBezTo>
                  <a:cubicBezTo>
                    <a:pt x="1288" y="17"/>
                    <a:pt x="1204" y="0"/>
                    <a:pt x="112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6" name="Google Shape;1786;p40"/>
            <p:cNvSpPr/>
            <p:nvPr/>
          </p:nvSpPr>
          <p:spPr>
            <a:xfrm>
              <a:off x="1797535" y="2579938"/>
              <a:ext cx="65386" cy="67566"/>
            </a:xfrm>
            <a:custGeom>
              <a:avLst/>
              <a:gdLst/>
              <a:ahLst/>
              <a:cxnLst/>
              <a:rect l="l" t="t" r="r" b="b"/>
              <a:pathLst>
                <a:path w="2039" h="2107" extrusionOk="0">
                  <a:moveTo>
                    <a:pt x="1120" y="0"/>
                  </a:moveTo>
                  <a:cubicBezTo>
                    <a:pt x="902" y="0"/>
                    <a:pt x="685" y="67"/>
                    <a:pt x="501" y="184"/>
                  </a:cubicBezTo>
                  <a:cubicBezTo>
                    <a:pt x="201" y="368"/>
                    <a:pt x="17" y="685"/>
                    <a:pt x="17" y="1020"/>
                  </a:cubicBezTo>
                  <a:cubicBezTo>
                    <a:pt x="0" y="1437"/>
                    <a:pt x="234" y="1838"/>
                    <a:pt x="618" y="2022"/>
                  </a:cubicBezTo>
                  <a:cubicBezTo>
                    <a:pt x="749" y="2079"/>
                    <a:pt x="888" y="2107"/>
                    <a:pt x="1027" y="2107"/>
                  </a:cubicBezTo>
                  <a:cubicBezTo>
                    <a:pt x="1295" y="2107"/>
                    <a:pt x="1562" y="2003"/>
                    <a:pt x="1771" y="1805"/>
                  </a:cubicBezTo>
                  <a:cubicBezTo>
                    <a:pt x="1905" y="1688"/>
                    <a:pt x="1988" y="1521"/>
                    <a:pt x="2022" y="1337"/>
                  </a:cubicBezTo>
                  <a:cubicBezTo>
                    <a:pt x="2039" y="1187"/>
                    <a:pt x="2022" y="1020"/>
                    <a:pt x="1972" y="869"/>
                  </a:cubicBezTo>
                  <a:cubicBezTo>
                    <a:pt x="1905" y="652"/>
                    <a:pt x="1771" y="485"/>
                    <a:pt x="1571" y="351"/>
                  </a:cubicBezTo>
                  <a:cubicBezTo>
                    <a:pt x="1521" y="318"/>
                    <a:pt x="1437" y="284"/>
                    <a:pt x="1354" y="284"/>
                  </a:cubicBezTo>
                  <a:cubicBezTo>
                    <a:pt x="1354" y="301"/>
                    <a:pt x="1437" y="318"/>
                    <a:pt x="1554" y="401"/>
                  </a:cubicBezTo>
                  <a:cubicBezTo>
                    <a:pt x="1704" y="535"/>
                    <a:pt x="1821" y="702"/>
                    <a:pt x="1871" y="903"/>
                  </a:cubicBezTo>
                  <a:cubicBezTo>
                    <a:pt x="1972" y="1187"/>
                    <a:pt x="1888" y="1504"/>
                    <a:pt x="1671" y="1705"/>
                  </a:cubicBezTo>
                  <a:cubicBezTo>
                    <a:pt x="1494" y="1871"/>
                    <a:pt x="1266" y="1963"/>
                    <a:pt x="1034" y="1963"/>
                  </a:cubicBezTo>
                  <a:cubicBezTo>
                    <a:pt x="917" y="1963"/>
                    <a:pt x="798" y="1939"/>
                    <a:pt x="685" y="1889"/>
                  </a:cubicBezTo>
                  <a:cubicBezTo>
                    <a:pt x="351" y="1721"/>
                    <a:pt x="151" y="1387"/>
                    <a:pt x="151" y="1020"/>
                  </a:cubicBezTo>
                  <a:cubicBezTo>
                    <a:pt x="151" y="719"/>
                    <a:pt x="301" y="452"/>
                    <a:pt x="552" y="268"/>
                  </a:cubicBezTo>
                  <a:cubicBezTo>
                    <a:pt x="719" y="151"/>
                    <a:pt x="919" y="84"/>
                    <a:pt x="1120" y="67"/>
                  </a:cubicBezTo>
                  <a:cubicBezTo>
                    <a:pt x="1203" y="67"/>
                    <a:pt x="1270" y="67"/>
                    <a:pt x="1354" y="51"/>
                  </a:cubicBezTo>
                  <a:cubicBezTo>
                    <a:pt x="1287" y="17"/>
                    <a:pt x="1203" y="0"/>
                    <a:pt x="112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7" name="Google Shape;1787;p40"/>
            <p:cNvSpPr/>
            <p:nvPr/>
          </p:nvSpPr>
          <p:spPr>
            <a:xfrm>
              <a:off x="1175458" y="1831964"/>
              <a:ext cx="242751" cy="305956"/>
            </a:xfrm>
            <a:custGeom>
              <a:avLst/>
              <a:gdLst/>
              <a:ahLst/>
              <a:cxnLst/>
              <a:rect l="l" t="t" r="r" b="b"/>
              <a:pathLst>
                <a:path w="7570" h="9541" extrusionOk="0">
                  <a:moveTo>
                    <a:pt x="4295" y="0"/>
                  </a:moveTo>
                  <a:lnTo>
                    <a:pt x="0" y="9541"/>
                  </a:lnTo>
                  <a:lnTo>
                    <a:pt x="0" y="9541"/>
                  </a:lnTo>
                  <a:lnTo>
                    <a:pt x="6634" y="9274"/>
                  </a:lnTo>
                  <a:cubicBezTo>
                    <a:pt x="6658" y="9275"/>
                    <a:pt x="6682" y="9276"/>
                    <a:pt x="6705" y="9276"/>
                  </a:cubicBezTo>
                  <a:cubicBezTo>
                    <a:pt x="6915" y="9276"/>
                    <a:pt x="7122" y="9212"/>
                    <a:pt x="7302" y="9106"/>
                  </a:cubicBezTo>
                  <a:cubicBezTo>
                    <a:pt x="7536" y="8906"/>
                    <a:pt x="7553" y="8555"/>
                    <a:pt x="7553" y="8254"/>
                  </a:cubicBezTo>
                  <a:cubicBezTo>
                    <a:pt x="7569" y="7235"/>
                    <a:pt x="7519" y="6082"/>
                    <a:pt x="6751" y="5431"/>
                  </a:cubicBezTo>
                  <a:cubicBezTo>
                    <a:pt x="6383" y="5130"/>
                    <a:pt x="5915" y="4979"/>
                    <a:pt x="5598" y="4645"/>
                  </a:cubicBezTo>
                  <a:cubicBezTo>
                    <a:pt x="5214" y="4228"/>
                    <a:pt x="5130" y="3609"/>
                    <a:pt x="5147" y="3041"/>
                  </a:cubicBezTo>
                  <a:cubicBezTo>
                    <a:pt x="5180" y="2473"/>
                    <a:pt x="5297" y="1905"/>
                    <a:pt x="5230" y="1337"/>
                  </a:cubicBezTo>
                  <a:cubicBezTo>
                    <a:pt x="5147" y="769"/>
                    <a:pt x="4846" y="184"/>
                    <a:pt x="429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8" name="Google Shape;1788;p40"/>
            <p:cNvSpPr/>
            <p:nvPr/>
          </p:nvSpPr>
          <p:spPr>
            <a:xfrm>
              <a:off x="1045264" y="1753719"/>
              <a:ext cx="272221" cy="547713"/>
            </a:xfrm>
            <a:custGeom>
              <a:avLst/>
              <a:gdLst/>
              <a:ahLst/>
              <a:cxnLst/>
              <a:rect l="l" t="t" r="r" b="b"/>
              <a:pathLst>
                <a:path w="8489" h="17080" extrusionOk="0">
                  <a:moveTo>
                    <a:pt x="4378" y="1"/>
                  </a:moveTo>
                  <a:lnTo>
                    <a:pt x="0" y="3326"/>
                  </a:lnTo>
                  <a:lnTo>
                    <a:pt x="468" y="14354"/>
                  </a:lnTo>
                  <a:cubicBezTo>
                    <a:pt x="533" y="15883"/>
                    <a:pt x="1787" y="17080"/>
                    <a:pt x="3303" y="17080"/>
                  </a:cubicBezTo>
                  <a:cubicBezTo>
                    <a:pt x="3343" y="17080"/>
                    <a:pt x="3384" y="17079"/>
                    <a:pt x="3426" y="17077"/>
                  </a:cubicBezTo>
                  <a:cubicBezTo>
                    <a:pt x="4996" y="17010"/>
                    <a:pt x="6199" y="15690"/>
                    <a:pt x="6149" y="14136"/>
                  </a:cubicBezTo>
                  <a:cubicBezTo>
                    <a:pt x="6099" y="12800"/>
                    <a:pt x="6049" y="11530"/>
                    <a:pt x="6049" y="11530"/>
                  </a:cubicBezTo>
                  <a:cubicBezTo>
                    <a:pt x="6049" y="11530"/>
                    <a:pt x="8221" y="11296"/>
                    <a:pt x="8355" y="9124"/>
                  </a:cubicBezTo>
                  <a:cubicBezTo>
                    <a:pt x="8488" y="6952"/>
                    <a:pt x="8355" y="1956"/>
                    <a:pt x="8355" y="1956"/>
                  </a:cubicBezTo>
                  <a:lnTo>
                    <a:pt x="4378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9" name="Google Shape;1789;p40"/>
            <p:cNvSpPr/>
            <p:nvPr/>
          </p:nvSpPr>
          <p:spPr>
            <a:xfrm>
              <a:off x="1278876" y="1924126"/>
              <a:ext cx="20908" cy="18054"/>
            </a:xfrm>
            <a:custGeom>
              <a:avLst/>
              <a:gdLst/>
              <a:ahLst/>
              <a:cxnLst/>
              <a:rect l="l" t="t" r="r" b="b"/>
              <a:pathLst>
                <a:path w="652" h="563" extrusionOk="0">
                  <a:moveTo>
                    <a:pt x="368" y="0"/>
                  </a:moveTo>
                  <a:cubicBezTo>
                    <a:pt x="117" y="0"/>
                    <a:pt x="0" y="301"/>
                    <a:pt x="167" y="485"/>
                  </a:cubicBezTo>
                  <a:cubicBezTo>
                    <a:pt x="226" y="538"/>
                    <a:pt x="296" y="563"/>
                    <a:pt x="363" y="563"/>
                  </a:cubicBezTo>
                  <a:cubicBezTo>
                    <a:pt x="506" y="563"/>
                    <a:pt x="641" y="454"/>
                    <a:pt x="652" y="284"/>
                  </a:cubicBezTo>
                  <a:cubicBezTo>
                    <a:pt x="652" y="134"/>
                    <a:pt x="518" y="0"/>
                    <a:pt x="36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0" name="Google Shape;1790;p40"/>
            <p:cNvSpPr/>
            <p:nvPr/>
          </p:nvSpPr>
          <p:spPr>
            <a:xfrm>
              <a:off x="1272430" y="1912549"/>
              <a:ext cx="36461" cy="11192"/>
            </a:xfrm>
            <a:custGeom>
              <a:avLst/>
              <a:gdLst/>
              <a:ahLst/>
              <a:cxnLst/>
              <a:rect l="l" t="t" r="r" b="b"/>
              <a:pathLst>
                <a:path w="1137" h="349" extrusionOk="0">
                  <a:moveTo>
                    <a:pt x="544" y="1"/>
                  </a:moveTo>
                  <a:cubicBezTo>
                    <a:pt x="401" y="1"/>
                    <a:pt x="257" y="43"/>
                    <a:pt x="134" y="127"/>
                  </a:cubicBezTo>
                  <a:cubicBezTo>
                    <a:pt x="34" y="194"/>
                    <a:pt x="1" y="261"/>
                    <a:pt x="17" y="278"/>
                  </a:cubicBezTo>
                  <a:cubicBezTo>
                    <a:pt x="21" y="281"/>
                    <a:pt x="26" y="283"/>
                    <a:pt x="33" y="283"/>
                  </a:cubicBezTo>
                  <a:cubicBezTo>
                    <a:pt x="92" y="283"/>
                    <a:pt x="275" y="176"/>
                    <a:pt x="522" y="176"/>
                  </a:cubicBezTo>
                  <a:cubicBezTo>
                    <a:pt x="537" y="176"/>
                    <a:pt x="553" y="177"/>
                    <a:pt x="569" y="177"/>
                  </a:cubicBezTo>
                  <a:cubicBezTo>
                    <a:pt x="845" y="193"/>
                    <a:pt x="1036" y="349"/>
                    <a:pt x="1105" y="349"/>
                  </a:cubicBezTo>
                  <a:cubicBezTo>
                    <a:pt x="1111" y="349"/>
                    <a:pt x="1116" y="347"/>
                    <a:pt x="1120" y="345"/>
                  </a:cubicBezTo>
                  <a:cubicBezTo>
                    <a:pt x="1137" y="328"/>
                    <a:pt x="1104" y="261"/>
                    <a:pt x="1020" y="177"/>
                  </a:cubicBezTo>
                  <a:cubicBezTo>
                    <a:pt x="884" y="60"/>
                    <a:pt x="714" y="1"/>
                    <a:pt x="54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1" name="Google Shape;1791;p40"/>
            <p:cNvSpPr/>
            <p:nvPr/>
          </p:nvSpPr>
          <p:spPr>
            <a:xfrm>
              <a:off x="1175458" y="1924126"/>
              <a:ext cx="20940" cy="18054"/>
            </a:xfrm>
            <a:custGeom>
              <a:avLst/>
              <a:gdLst/>
              <a:ahLst/>
              <a:cxnLst/>
              <a:rect l="l" t="t" r="r" b="b"/>
              <a:pathLst>
                <a:path w="653" h="563" extrusionOk="0">
                  <a:moveTo>
                    <a:pt x="368" y="0"/>
                  </a:moveTo>
                  <a:cubicBezTo>
                    <a:pt x="117" y="0"/>
                    <a:pt x="0" y="301"/>
                    <a:pt x="184" y="485"/>
                  </a:cubicBezTo>
                  <a:cubicBezTo>
                    <a:pt x="238" y="538"/>
                    <a:pt x="306" y="563"/>
                    <a:pt x="372" y="563"/>
                  </a:cubicBezTo>
                  <a:cubicBezTo>
                    <a:pt x="514" y="563"/>
                    <a:pt x="652" y="454"/>
                    <a:pt x="652" y="284"/>
                  </a:cubicBezTo>
                  <a:cubicBezTo>
                    <a:pt x="652" y="134"/>
                    <a:pt x="518" y="0"/>
                    <a:pt x="36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2" name="Google Shape;1792;p40"/>
            <p:cNvSpPr/>
            <p:nvPr/>
          </p:nvSpPr>
          <p:spPr>
            <a:xfrm>
              <a:off x="1166351" y="1912549"/>
              <a:ext cx="35916" cy="11192"/>
            </a:xfrm>
            <a:custGeom>
              <a:avLst/>
              <a:gdLst/>
              <a:ahLst/>
              <a:cxnLst/>
              <a:rect l="l" t="t" r="r" b="b"/>
              <a:pathLst>
                <a:path w="1120" h="349" extrusionOk="0">
                  <a:moveTo>
                    <a:pt x="537" y="1"/>
                  </a:moveTo>
                  <a:cubicBezTo>
                    <a:pt x="397" y="1"/>
                    <a:pt x="257" y="43"/>
                    <a:pt x="134" y="127"/>
                  </a:cubicBezTo>
                  <a:cubicBezTo>
                    <a:pt x="34" y="194"/>
                    <a:pt x="0" y="261"/>
                    <a:pt x="17" y="278"/>
                  </a:cubicBezTo>
                  <a:cubicBezTo>
                    <a:pt x="21" y="281"/>
                    <a:pt x="26" y="283"/>
                    <a:pt x="33" y="283"/>
                  </a:cubicBezTo>
                  <a:cubicBezTo>
                    <a:pt x="91" y="283"/>
                    <a:pt x="275" y="176"/>
                    <a:pt x="521" y="176"/>
                  </a:cubicBezTo>
                  <a:cubicBezTo>
                    <a:pt x="537" y="176"/>
                    <a:pt x="553" y="177"/>
                    <a:pt x="569" y="177"/>
                  </a:cubicBezTo>
                  <a:cubicBezTo>
                    <a:pt x="844" y="193"/>
                    <a:pt x="1036" y="349"/>
                    <a:pt x="1091" y="349"/>
                  </a:cubicBezTo>
                  <a:cubicBezTo>
                    <a:pt x="1097" y="349"/>
                    <a:pt x="1100" y="347"/>
                    <a:pt x="1103" y="345"/>
                  </a:cubicBezTo>
                  <a:cubicBezTo>
                    <a:pt x="1120" y="328"/>
                    <a:pt x="1086" y="261"/>
                    <a:pt x="1003" y="177"/>
                  </a:cubicBezTo>
                  <a:cubicBezTo>
                    <a:pt x="867" y="60"/>
                    <a:pt x="702" y="1"/>
                    <a:pt x="53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3" name="Google Shape;1793;p40"/>
            <p:cNvSpPr/>
            <p:nvPr/>
          </p:nvSpPr>
          <p:spPr>
            <a:xfrm>
              <a:off x="1147046" y="2091807"/>
              <a:ext cx="92739" cy="49480"/>
            </a:xfrm>
            <a:custGeom>
              <a:avLst/>
              <a:gdLst/>
              <a:ahLst/>
              <a:cxnLst/>
              <a:rect l="l" t="t" r="r" b="b"/>
              <a:pathLst>
                <a:path w="2892" h="1543" extrusionOk="0">
                  <a:moveTo>
                    <a:pt x="1" y="1"/>
                  </a:moveTo>
                  <a:cubicBezTo>
                    <a:pt x="1" y="1"/>
                    <a:pt x="677" y="1543"/>
                    <a:pt x="2702" y="1543"/>
                  </a:cubicBezTo>
                  <a:cubicBezTo>
                    <a:pt x="2764" y="1543"/>
                    <a:pt x="2827" y="1541"/>
                    <a:pt x="2892" y="1538"/>
                  </a:cubicBezTo>
                  <a:lnTo>
                    <a:pt x="2875" y="987"/>
                  </a:lnTo>
                  <a:cubicBezTo>
                    <a:pt x="1839" y="937"/>
                    <a:pt x="836" y="602"/>
                    <a:pt x="1" y="1"/>
                  </a:cubicBezTo>
                  <a:close/>
                </a:path>
              </a:pathLst>
            </a:custGeom>
            <a:solidFill>
              <a:schemeClr val="dk2">
                <a:alpha val="3202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4" name="Google Shape;1794;p40"/>
            <p:cNvSpPr/>
            <p:nvPr/>
          </p:nvSpPr>
          <p:spPr>
            <a:xfrm>
              <a:off x="1234943" y="1920887"/>
              <a:ext cx="26263" cy="84530"/>
            </a:xfrm>
            <a:custGeom>
              <a:avLst/>
              <a:gdLst/>
              <a:ahLst/>
              <a:cxnLst/>
              <a:rect l="l" t="t" r="r" b="b"/>
              <a:pathLst>
                <a:path w="819" h="2636" extrusionOk="0">
                  <a:moveTo>
                    <a:pt x="0" y="1"/>
                  </a:moveTo>
                  <a:lnTo>
                    <a:pt x="0" y="1"/>
                  </a:lnTo>
                  <a:cubicBezTo>
                    <a:pt x="17" y="168"/>
                    <a:pt x="50" y="318"/>
                    <a:pt x="100" y="469"/>
                  </a:cubicBezTo>
                  <a:cubicBezTo>
                    <a:pt x="184" y="770"/>
                    <a:pt x="318" y="1171"/>
                    <a:pt x="451" y="1605"/>
                  </a:cubicBezTo>
                  <a:cubicBezTo>
                    <a:pt x="535" y="1822"/>
                    <a:pt x="602" y="2039"/>
                    <a:pt x="668" y="2223"/>
                  </a:cubicBezTo>
                  <a:cubicBezTo>
                    <a:pt x="702" y="2307"/>
                    <a:pt x="719" y="2390"/>
                    <a:pt x="702" y="2474"/>
                  </a:cubicBezTo>
                  <a:cubicBezTo>
                    <a:pt x="685" y="2524"/>
                    <a:pt x="618" y="2541"/>
                    <a:pt x="535" y="2541"/>
                  </a:cubicBezTo>
                  <a:cubicBezTo>
                    <a:pt x="368" y="2541"/>
                    <a:pt x="201" y="2557"/>
                    <a:pt x="50" y="2607"/>
                  </a:cubicBezTo>
                  <a:cubicBezTo>
                    <a:pt x="148" y="2627"/>
                    <a:pt x="240" y="2635"/>
                    <a:pt x="333" y="2635"/>
                  </a:cubicBezTo>
                  <a:cubicBezTo>
                    <a:pt x="399" y="2635"/>
                    <a:pt x="466" y="2631"/>
                    <a:pt x="535" y="2624"/>
                  </a:cubicBezTo>
                  <a:lnTo>
                    <a:pt x="668" y="2624"/>
                  </a:lnTo>
                  <a:cubicBezTo>
                    <a:pt x="719" y="2607"/>
                    <a:pt x="769" y="2557"/>
                    <a:pt x="802" y="2507"/>
                  </a:cubicBezTo>
                  <a:cubicBezTo>
                    <a:pt x="819" y="2407"/>
                    <a:pt x="819" y="2290"/>
                    <a:pt x="769" y="2190"/>
                  </a:cubicBezTo>
                  <a:cubicBezTo>
                    <a:pt x="702" y="2006"/>
                    <a:pt x="635" y="1789"/>
                    <a:pt x="568" y="1572"/>
                  </a:cubicBezTo>
                  <a:cubicBezTo>
                    <a:pt x="435" y="1137"/>
                    <a:pt x="301" y="736"/>
                    <a:pt x="184" y="452"/>
                  </a:cubicBezTo>
                  <a:cubicBezTo>
                    <a:pt x="151" y="285"/>
                    <a:pt x="84" y="135"/>
                    <a:pt x="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5" name="Google Shape;1795;p40"/>
            <p:cNvSpPr/>
            <p:nvPr/>
          </p:nvSpPr>
          <p:spPr>
            <a:xfrm>
              <a:off x="1216184" y="2012536"/>
              <a:ext cx="23602" cy="21710"/>
            </a:xfrm>
            <a:custGeom>
              <a:avLst/>
              <a:gdLst/>
              <a:ahLst/>
              <a:cxnLst/>
              <a:rect l="l" t="t" r="r" b="b"/>
              <a:pathLst>
                <a:path w="736" h="677" extrusionOk="0">
                  <a:moveTo>
                    <a:pt x="418" y="0"/>
                  </a:moveTo>
                  <a:lnTo>
                    <a:pt x="418" y="0"/>
                  </a:lnTo>
                  <a:cubicBezTo>
                    <a:pt x="301" y="34"/>
                    <a:pt x="201" y="100"/>
                    <a:pt x="117" y="184"/>
                  </a:cubicBezTo>
                  <a:cubicBezTo>
                    <a:pt x="34" y="267"/>
                    <a:pt x="0" y="384"/>
                    <a:pt x="34" y="501"/>
                  </a:cubicBezTo>
                  <a:cubicBezTo>
                    <a:pt x="103" y="612"/>
                    <a:pt x="218" y="677"/>
                    <a:pt x="341" y="677"/>
                  </a:cubicBezTo>
                  <a:cubicBezTo>
                    <a:pt x="366" y="677"/>
                    <a:pt x="392" y="674"/>
                    <a:pt x="418" y="668"/>
                  </a:cubicBezTo>
                  <a:cubicBezTo>
                    <a:pt x="535" y="635"/>
                    <a:pt x="635" y="568"/>
                    <a:pt x="685" y="451"/>
                  </a:cubicBezTo>
                  <a:cubicBezTo>
                    <a:pt x="736" y="351"/>
                    <a:pt x="736" y="217"/>
                    <a:pt x="652" y="117"/>
                  </a:cubicBezTo>
                  <a:cubicBezTo>
                    <a:pt x="600" y="65"/>
                    <a:pt x="528" y="39"/>
                    <a:pt x="457" y="39"/>
                  </a:cubicBezTo>
                  <a:cubicBezTo>
                    <a:pt x="414" y="39"/>
                    <a:pt x="372" y="48"/>
                    <a:pt x="335" y="67"/>
                  </a:cubicBezTo>
                  <a:lnTo>
                    <a:pt x="418" y="0"/>
                  </a:lnTo>
                  <a:close/>
                </a:path>
              </a:pathLst>
            </a:custGeom>
            <a:solidFill>
              <a:schemeClr val="dk2">
                <a:alpha val="3202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6" name="Google Shape;1796;p40"/>
            <p:cNvSpPr/>
            <p:nvPr/>
          </p:nvSpPr>
          <p:spPr>
            <a:xfrm>
              <a:off x="1214580" y="2011958"/>
              <a:ext cx="27354" cy="16419"/>
            </a:xfrm>
            <a:custGeom>
              <a:avLst/>
              <a:gdLst/>
              <a:ahLst/>
              <a:cxnLst/>
              <a:rect l="l" t="t" r="r" b="b"/>
              <a:pathLst>
                <a:path w="853" h="512" extrusionOk="0">
                  <a:moveTo>
                    <a:pt x="41" y="0"/>
                  </a:moveTo>
                  <a:cubicBezTo>
                    <a:pt x="38" y="0"/>
                    <a:pt x="36" y="1"/>
                    <a:pt x="34" y="1"/>
                  </a:cubicBezTo>
                  <a:cubicBezTo>
                    <a:pt x="0" y="1"/>
                    <a:pt x="67" y="269"/>
                    <a:pt x="334" y="419"/>
                  </a:cubicBezTo>
                  <a:cubicBezTo>
                    <a:pt x="457" y="488"/>
                    <a:pt x="577" y="512"/>
                    <a:pt x="670" y="512"/>
                  </a:cubicBezTo>
                  <a:cubicBezTo>
                    <a:pt x="779" y="512"/>
                    <a:pt x="852" y="480"/>
                    <a:pt x="852" y="453"/>
                  </a:cubicBezTo>
                  <a:cubicBezTo>
                    <a:pt x="836" y="419"/>
                    <a:pt x="635" y="402"/>
                    <a:pt x="418" y="285"/>
                  </a:cubicBezTo>
                  <a:cubicBezTo>
                    <a:pt x="211" y="158"/>
                    <a:pt x="95" y="0"/>
                    <a:pt x="4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7" name="Google Shape;1797;p40"/>
            <p:cNvSpPr/>
            <p:nvPr/>
          </p:nvSpPr>
          <p:spPr>
            <a:xfrm>
              <a:off x="1084386" y="1734895"/>
              <a:ext cx="249710" cy="174030"/>
            </a:xfrm>
            <a:custGeom>
              <a:avLst/>
              <a:gdLst/>
              <a:ahLst/>
              <a:cxnLst/>
              <a:rect l="l" t="t" r="r" b="b"/>
              <a:pathLst>
                <a:path w="7787" h="5427" extrusionOk="0">
                  <a:moveTo>
                    <a:pt x="3835" y="0"/>
                  </a:moveTo>
                  <a:cubicBezTo>
                    <a:pt x="3527" y="0"/>
                    <a:pt x="3219" y="40"/>
                    <a:pt x="2924" y="120"/>
                  </a:cubicBezTo>
                  <a:cubicBezTo>
                    <a:pt x="1688" y="471"/>
                    <a:pt x="735" y="1457"/>
                    <a:pt x="418" y="2710"/>
                  </a:cubicBezTo>
                  <a:lnTo>
                    <a:pt x="568" y="2576"/>
                  </a:lnTo>
                  <a:lnTo>
                    <a:pt x="568" y="2576"/>
                  </a:lnTo>
                  <a:cubicBezTo>
                    <a:pt x="551" y="3044"/>
                    <a:pt x="284" y="3462"/>
                    <a:pt x="150" y="3913"/>
                  </a:cubicBezTo>
                  <a:cubicBezTo>
                    <a:pt x="0" y="4364"/>
                    <a:pt x="17" y="4932"/>
                    <a:pt x="434" y="5199"/>
                  </a:cubicBezTo>
                  <a:cubicBezTo>
                    <a:pt x="551" y="5283"/>
                    <a:pt x="668" y="5333"/>
                    <a:pt x="802" y="5350"/>
                  </a:cubicBezTo>
                  <a:cubicBezTo>
                    <a:pt x="992" y="5405"/>
                    <a:pt x="1190" y="5427"/>
                    <a:pt x="1390" y="5427"/>
                  </a:cubicBezTo>
                  <a:cubicBezTo>
                    <a:pt x="1735" y="5427"/>
                    <a:pt x="2091" y="5363"/>
                    <a:pt x="2439" y="5300"/>
                  </a:cubicBezTo>
                  <a:lnTo>
                    <a:pt x="2506" y="4063"/>
                  </a:lnTo>
                  <a:cubicBezTo>
                    <a:pt x="2590" y="4448"/>
                    <a:pt x="2790" y="4798"/>
                    <a:pt x="3108" y="5032"/>
                  </a:cubicBezTo>
                  <a:cubicBezTo>
                    <a:pt x="3325" y="5206"/>
                    <a:pt x="3584" y="5295"/>
                    <a:pt x="3849" y="5295"/>
                  </a:cubicBezTo>
                  <a:cubicBezTo>
                    <a:pt x="3992" y="5295"/>
                    <a:pt x="4137" y="5269"/>
                    <a:pt x="4277" y="5216"/>
                  </a:cubicBezTo>
                  <a:cubicBezTo>
                    <a:pt x="4600" y="5069"/>
                    <a:pt x="4820" y="4716"/>
                    <a:pt x="4744" y="4395"/>
                  </a:cubicBezTo>
                  <a:lnTo>
                    <a:pt x="4744" y="4395"/>
                  </a:lnTo>
                  <a:cubicBezTo>
                    <a:pt x="4929" y="4791"/>
                    <a:pt x="5397" y="5060"/>
                    <a:pt x="5865" y="5166"/>
                  </a:cubicBezTo>
                  <a:cubicBezTo>
                    <a:pt x="6098" y="5196"/>
                    <a:pt x="6334" y="5213"/>
                    <a:pt x="6572" y="5213"/>
                  </a:cubicBezTo>
                  <a:cubicBezTo>
                    <a:pt x="6863" y="5213"/>
                    <a:pt x="7158" y="5188"/>
                    <a:pt x="7452" y="5133"/>
                  </a:cubicBezTo>
                  <a:cubicBezTo>
                    <a:pt x="7185" y="4715"/>
                    <a:pt x="7369" y="4214"/>
                    <a:pt x="7519" y="3763"/>
                  </a:cubicBezTo>
                  <a:cubicBezTo>
                    <a:pt x="7669" y="3311"/>
                    <a:pt x="7786" y="2760"/>
                    <a:pt x="7452" y="2409"/>
                  </a:cubicBezTo>
                  <a:cubicBezTo>
                    <a:pt x="7318" y="2292"/>
                    <a:pt x="7201" y="2192"/>
                    <a:pt x="7068" y="2108"/>
                  </a:cubicBezTo>
                  <a:cubicBezTo>
                    <a:pt x="6784" y="1858"/>
                    <a:pt x="6650" y="1524"/>
                    <a:pt x="6450" y="1240"/>
                  </a:cubicBezTo>
                  <a:cubicBezTo>
                    <a:pt x="5896" y="441"/>
                    <a:pt x="4866" y="0"/>
                    <a:pt x="383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8" name="Google Shape;1798;p40"/>
            <p:cNvSpPr/>
            <p:nvPr/>
          </p:nvSpPr>
          <p:spPr>
            <a:xfrm>
              <a:off x="904872" y="1753751"/>
              <a:ext cx="254552" cy="409887"/>
            </a:xfrm>
            <a:custGeom>
              <a:avLst/>
              <a:gdLst/>
              <a:ahLst/>
              <a:cxnLst/>
              <a:rect l="l" t="t" r="r" b="b"/>
              <a:pathLst>
                <a:path w="7938" h="12782" extrusionOk="0">
                  <a:moveTo>
                    <a:pt x="6153" y="0"/>
                  </a:moveTo>
                  <a:cubicBezTo>
                    <a:pt x="5878" y="0"/>
                    <a:pt x="5604" y="20"/>
                    <a:pt x="5331" y="67"/>
                  </a:cubicBezTo>
                  <a:cubicBezTo>
                    <a:pt x="4479" y="234"/>
                    <a:pt x="3626" y="752"/>
                    <a:pt x="3309" y="1554"/>
                  </a:cubicBezTo>
                  <a:cubicBezTo>
                    <a:pt x="2958" y="2473"/>
                    <a:pt x="3309" y="3592"/>
                    <a:pt x="2791" y="4444"/>
                  </a:cubicBezTo>
                  <a:cubicBezTo>
                    <a:pt x="2457" y="5012"/>
                    <a:pt x="1788" y="5297"/>
                    <a:pt x="1287" y="5748"/>
                  </a:cubicBezTo>
                  <a:cubicBezTo>
                    <a:pt x="435" y="6483"/>
                    <a:pt x="51" y="7669"/>
                    <a:pt x="17" y="8805"/>
                  </a:cubicBezTo>
                  <a:cubicBezTo>
                    <a:pt x="1" y="9925"/>
                    <a:pt x="435" y="11679"/>
                    <a:pt x="736" y="12782"/>
                  </a:cubicBezTo>
                  <a:cubicBezTo>
                    <a:pt x="2791" y="12598"/>
                    <a:pt x="4896" y="12732"/>
                    <a:pt x="6951" y="12548"/>
                  </a:cubicBezTo>
                  <a:cubicBezTo>
                    <a:pt x="6484" y="12331"/>
                    <a:pt x="6250" y="10977"/>
                    <a:pt x="6333" y="10459"/>
                  </a:cubicBezTo>
                  <a:cubicBezTo>
                    <a:pt x="6417" y="9958"/>
                    <a:pt x="6701" y="9507"/>
                    <a:pt x="6918" y="9056"/>
                  </a:cubicBezTo>
                  <a:cubicBezTo>
                    <a:pt x="7135" y="8588"/>
                    <a:pt x="7302" y="8053"/>
                    <a:pt x="7135" y="7569"/>
                  </a:cubicBezTo>
                  <a:cubicBezTo>
                    <a:pt x="6968" y="7051"/>
                    <a:pt x="6450" y="6683"/>
                    <a:pt x="6266" y="6165"/>
                  </a:cubicBezTo>
                  <a:cubicBezTo>
                    <a:pt x="6066" y="5614"/>
                    <a:pt x="6266" y="4996"/>
                    <a:pt x="6450" y="4444"/>
                  </a:cubicBezTo>
                  <a:cubicBezTo>
                    <a:pt x="6951" y="3024"/>
                    <a:pt x="7453" y="1604"/>
                    <a:pt x="7937" y="184"/>
                  </a:cubicBezTo>
                  <a:cubicBezTo>
                    <a:pt x="7353" y="92"/>
                    <a:pt x="6752" y="0"/>
                    <a:pt x="615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9" name="Google Shape;1799;p40"/>
            <p:cNvSpPr/>
            <p:nvPr/>
          </p:nvSpPr>
          <p:spPr>
            <a:xfrm>
              <a:off x="932739" y="1746151"/>
              <a:ext cx="213281" cy="190545"/>
            </a:xfrm>
            <a:custGeom>
              <a:avLst/>
              <a:gdLst/>
              <a:ahLst/>
              <a:cxnLst/>
              <a:rect l="l" t="t" r="r" b="b"/>
              <a:pathLst>
                <a:path w="6651" h="5942" extrusionOk="0">
                  <a:moveTo>
                    <a:pt x="5026" y="1"/>
                  </a:moveTo>
                  <a:cubicBezTo>
                    <a:pt x="4988" y="1"/>
                    <a:pt x="4950" y="2"/>
                    <a:pt x="4913" y="3"/>
                  </a:cubicBezTo>
                  <a:cubicBezTo>
                    <a:pt x="4595" y="3"/>
                    <a:pt x="4295" y="53"/>
                    <a:pt x="3994" y="120"/>
                  </a:cubicBezTo>
                  <a:cubicBezTo>
                    <a:pt x="3626" y="203"/>
                    <a:pt x="3292" y="337"/>
                    <a:pt x="2991" y="521"/>
                  </a:cubicBezTo>
                  <a:cubicBezTo>
                    <a:pt x="2640" y="738"/>
                    <a:pt x="2373" y="1056"/>
                    <a:pt x="2223" y="1440"/>
                  </a:cubicBezTo>
                  <a:cubicBezTo>
                    <a:pt x="2072" y="1841"/>
                    <a:pt x="2006" y="2275"/>
                    <a:pt x="2022" y="2693"/>
                  </a:cubicBezTo>
                  <a:cubicBezTo>
                    <a:pt x="2022" y="3144"/>
                    <a:pt x="2072" y="3562"/>
                    <a:pt x="2072" y="3963"/>
                  </a:cubicBezTo>
                  <a:cubicBezTo>
                    <a:pt x="2106" y="4347"/>
                    <a:pt x="2039" y="4715"/>
                    <a:pt x="1905" y="5082"/>
                  </a:cubicBezTo>
                  <a:cubicBezTo>
                    <a:pt x="1772" y="5383"/>
                    <a:pt x="1521" y="5634"/>
                    <a:pt x="1204" y="5767"/>
                  </a:cubicBezTo>
                  <a:cubicBezTo>
                    <a:pt x="1113" y="5801"/>
                    <a:pt x="1016" y="5818"/>
                    <a:pt x="919" y="5818"/>
                  </a:cubicBezTo>
                  <a:cubicBezTo>
                    <a:pt x="730" y="5818"/>
                    <a:pt x="539" y="5755"/>
                    <a:pt x="385" y="5634"/>
                  </a:cubicBezTo>
                  <a:cubicBezTo>
                    <a:pt x="201" y="5500"/>
                    <a:pt x="101" y="5249"/>
                    <a:pt x="151" y="5016"/>
                  </a:cubicBezTo>
                  <a:cubicBezTo>
                    <a:pt x="184" y="4832"/>
                    <a:pt x="318" y="4681"/>
                    <a:pt x="502" y="4648"/>
                  </a:cubicBezTo>
                  <a:cubicBezTo>
                    <a:pt x="529" y="4644"/>
                    <a:pt x="557" y="4642"/>
                    <a:pt x="584" y="4642"/>
                  </a:cubicBezTo>
                  <a:cubicBezTo>
                    <a:pt x="673" y="4642"/>
                    <a:pt x="759" y="4664"/>
                    <a:pt x="836" y="4715"/>
                  </a:cubicBezTo>
                  <a:cubicBezTo>
                    <a:pt x="903" y="4765"/>
                    <a:pt x="919" y="4798"/>
                    <a:pt x="936" y="4798"/>
                  </a:cubicBezTo>
                  <a:cubicBezTo>
                    <a:pt x="936" y="4798"/>
                    <a:pt x="919" y="4748"/>
                    <a:pt x="853" y="4698"/>
                  </a:cubicBezTo>
                  <a:cubicBezTo>
                    <a:pt x="774" y="4632"/>
                    <a:pt x="674" y="4587"/>
                    <a:pt x="579" y="4587"/>
                  </a:cubicBezTo>
                  <a:cubicBezTo>
                    <a:pt x="553" y="4587"/>
                    <a:pt x="527" y="4591"/>
                    <a:pt x="502" y="4598"/>
                  </a:cubicBezTo>
                  <a:cubicBezTo>
                    <a:pt x="285" y="4631"/>
                    <a:pt x="117" y="4782"/>
                    <a:pt x="67" y="4999"/>
                  </a:cubicBezTo>
                  <a:cubicBezTo>
                    <a:pt x="1" y="5266"/>
                    <a:pt x="101" y="5550"/>
                    <a:pt x="318" y="5717"/>
                  </a:cubicBezTo>
                  <a:cubicBezTo>
                    <a:pt x="498" y="5863"/>
                    <a:pt x="715" y="5941"/>
                    <a:pt x="935" y="5941"/>
                  </a:cubicBezTo>
                  <a:cubicBezTo>
                    <a:pt x="1042" y="5941"/>
                    <a:pt x="1150" y="5923"/>
                    <a:pt x="1254" y="5884"/>
                  </a:cubicBezTo>
                  <a:cubicBezTo>
                    <a:pt x="1605" y="5751"/>
                    <a:pt x="1872" y="5483"/>
                    <a:pt x="2022" y="5132"/>
                  </a:cubicBezTo>
                  <a:cubicBezTo>
                    <a:pt x="2173" y="4765"/>
                    <a:pt x="2239" y="4364"/>
                    <a:pt x="2223" y="3963"/>
                  </a:cubicBezTo>
                  <a:cubicBezTo>
                    <a:pt x="2223" y="3545"/>
                    <a:pt x="2173" y="3127"/>
                    <a:pt x="2173" y="2693"/>
                  </a:cubicBezTo>
                  <a:cubicBezTo>
                    <a:pt x="2156" y="2292"/>
                    <a:pt x="2223" y="1874"/>
                    <a:pt x="2356" y="1490"/>
                  </a:cubicBezTo>
                  <a:cubicBezTo>
                    <a:pt x="2490" y="1139"/>
                    <a:pt x="2741" y="838"/>
                    <a:pt x="3058" y="638"/>
                  </a:cubicBezTo>
                  <a:cubicBezTo>
                    <a:pt x="3359" y="454"/>
                    <a:pt x="3676" y="320"/>
                    <a:pt x="4011" y="237"/>
                  </a:cubicBezTo>
                  <a:cubicBezTo>
                    <a:pt x="4311" y="170"/>
                    <a:pt x="4612" y="120"/>
                    <a:pt x="4913" y="103"/>
                  </a:cubicBezTo>
                  <a:cubicBezTo>
                    <a:pt x="4958" y="102"/>
                    <a:pt x="5003" y="101"/>
                    <a:pt x="5048" y="101"/>
                  </a:cubicBezTo>
                  <a:cubicBezTo>
                    <a:pt x="5451" y="101"/>
                    <a:pt x="5840" y="168"/>
                    <a:pt x="6216" y="304"/>
                  </a:cubicBezTo>
                  <a:cubicBezTo>
                    <a:pt x="6482" y="413"/>
                    <a:pt x="6631" y="523"/>
                    <a:pt x="6649" y="523"/>
                  </a:cubicBezTo>
                  <a:cubicBezTo>
                    <a:pt x="6650" y="523"/>
                    <a:pt x="6651" y="522"/>
                    <a:pt x="6651" y="521"/>
                  </a:cubicBezTo>
                  <a:cubicBezTo>
                    <a:pt x="6651" y="521"/>
                    <a:pt x="6617" y="488"/>
                    <a:pt x="6550" y="437"/>
                  </a:cubicBezTo>
                  <a:cubicBezTo>
                    <a:pt x="6450" y="371"/>
                    <a:pt x="6350" y="304"/>
                    <a:pt x="6233" y="254"/>
                  </a:cubicBezTo>
                  <a:cubicBezTo>
                    <a:pt x="5850" y="85"/>
                    <a:pt x="5439" y="1"/>
                    <a:pt x="502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0" name="Google Shape;1800;p40"/>
            <p:cNvSpPr/>
            <p:nvPr/>
          </p:nvSpPr>
          <p:spPr>
            <a:xfrm>
              <a:off x="1316363" y="1831964"/>
              <a:ext cx="98640" cy="183137"/>
            </a:xfrm>
            <a:custGeom>
              <a:avLst/>
              <a:gdLst/>
              <a:ahLst/>
              <a:cxnLst/>
              <a:rect l="l" t="t" r="r" b="b"/>
              <a:pathLst>
                <a:path w="3076" h="5711" extrusionOk="0">
                  <a:moveTo>
                    <a:pt x="1" y="0"/>
                  </a:moveTo>
                  <a:lnTo>
                    <a:pt x="1" y="0"/>
                  </a:lnTo>
                  <a:cubicBezTo>
                    <a:pt x="84" y="67"/>
                    <a:pt x="168" y="134"/>
                    <a:pt x="268" y="184"/>
                  </a:cubicBezTo>
                  <a:cubicBezTo>
                    <a:pt x="519" y="351"/>
                    <a:pt x="753" y="535"/>
                    <a:pt x="970" y="736"/>
                  </a:cubicBezTo>
                  <a:cubicBezTo>
                    <a:pt x="1287" y="1020"/>
                    <a:pt x="1488" y="1404"/>
                    <a:pt x="1555" y="1822"/>
                  </a:cubicBezTo>
                  <a:cubicBezTo>
                    <a:pt x="1622" y="2306"/>
                    <a:pt x="1488" y="2841"/>
                    <a:pt x="1388" y="3409"/>
                  </a:cubicBezTo>
                  <a:cubicBezTo>
                    <a:pt x="1271" y="3960"/>
                    <a:pt x="1221" y="4562"/>
                    <a:pt x="1471" y="5030"/>
                  </a:cubicBezTo>
                  <a:cubicBezTo>
                    <a:pt x="1588" y="5247"/>
                    <a:pt x="1755" y="5447"/>
                    <a:pt x="1972" y="5581"/>
                  </a:cubicBezTo>
                  <a:cubicBezTo>
                    <a:pt x="2112" y="5670"/>
                    <a:pt x="2270" y="5710"/>
                    <a:pt x="2433" y="5710"/>
                  </a:cubicBezTo>
                  <a:cubicBezTo>
                    <a:pt x="2485" y="5710"/>
                    <a:pt x="2538" y="5706"/>
                    <a:pt x="2591" y="5698"/>
                  </a:cubicBezTo>
                  <a:cubicBezTo>
                    <a:pt x="2774" y="5681"/>
                    <a:pt x="2942" y="5564"/>
                    <a:pt x="3025" y="5397"/>
                  </a:cubicBezTo>
                  <a:cubicBezTo>
                    <a:pt x="3075" y="5264"/>
                    <a:pt x="3059" y="5113"/>
                    <a:pt x="2958" y="4996"/>
                  </a:cubicBezTo>
                  <a:cubicBezTo>
                    <a:pt x="2908" y="4929"/>
                    <a:pt x="2825" y="4896"/>
                    <a:pt x="2724" y="4879"/>
                  </a:cubicBezTo>
                  <a:cubicBezTo>
                    <a:pt x="2674" y="4896"/>
                    <a:pt x="2641" y="4913"/>
                    <a:pt x="2641" y="4913"/>
                  </a:cubicBezTo>
                  <a:cubicBezTo>
                    <a:pt x="2656" y="4910"/>
                    <a:pt x="2671" y="4909"/>
                    <a:pt x="2685" y="4909"/>
                  </a:cubicBezTo>
                  <a:cubicBezTo>
                    <a:pt x="2783" y="4909"/>
                    <a:pt x="2864" y="4957"/>
                    <a:pt x="2908" y="5030"/>
                  </a:cubicBezTo>
                  <a:cubicBezTo>
                    <a:pt x="2975" y="5130"/>
                    <a:pt x="2992" y="5247"/>
                    <a:pt x="2942" y="5364"/>
                  </a:cubicBezTo>
                  <a:cubicBezTo>
                    <a:pt x="2875" y="5497"/>
                    <a:pt x="2724" y="5581"/>
                    <a:pt x="2574" y="5598"/>
                  </a:cubicBezTo>
                  <a:cubicBezTo>
                    <a:pt x="2544" y="5602"/>
                    <a:pt x="2514" y="5604"/>
                    <a:pt x="2484" y="5604"/>
                  </a:cubicBezTo>
                  <a:cubicBezTo>
                    <a:pt x="2154" y="5604"/>
                    <a:pt x="1788" y="5360"/>
                    <a:pt x="1605" y="4963"/>
                  </a:cubicBezTo>
                  <a:cubicBezTo>
                    <a:pt x="1388" y="4545"/>
                    <a:pt x="1421" y="3994"/>
                    <a:pt x="1538" y="3426"/>
                  </a:cubicBezTo>
                  <a:cubicBezTo>
                    <a:pt x="1638" y="2874"/>
                    <a:pt x="1772" y="2323"/>
                    <a:pt x="1688" y="1805"/>
                  </a:cubicBezTo>
                  <a:cubicBezTo>
                    <a:pt x="1622" y="1354"/>
                    <a:pt x="1388" y="953"/>
                    <a:pt x="1037" y="652"/>
                  </a:cubicBezTo>
                  <a:cubicBezTo>
                    <a:pt x="803" y="451"/>
                    <a:pt x="569" y="284"/>
                    <a:pt x="302" y="134"/>
                  </a:cubicBezTo>
                  <a:cubicBezTo>
                    <a:pt x="218" y="84"/>
                    <a:pt x="118" y="34"/>
                    <a:pt x="1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1" name="Google Shape;1801;p40"/>
            <p:cNvSpPr/>
            <p:nvPr/>
          </p:nvSpPr>
          <p:spPr>
            <a:xfrm>
              <a:off x="1207076" y="2377945"/>
              <a:ext cx="705132" cy="427588"/>
            </a:xfrm>
            <a:custGeom>
              <a:avLst/>
              <a:gdLst/>
              <a:ahLst/>
              <a:cxnLst/>
              <a:rect l="l" t="t" r="r" b="b"/>
              <a:pathLst>
                <a:path w="21989" h="13334" extrusionOk="0">
                  <a:moveTo>
                    <a:pt x="769" y="0"/>
                  </a:moveTo>
                  <a:cubicBezTo>
                    <a:pt x="301" y="0"/>
                    <a:pt x="0" y="485"/>
                    <a:pt x="201" y="919"/>
                  </a:cubicBezTo>
                  <a:lnTo>
                    <a:pt x="6049" y="13334"/>
                  </a:lnTo>
                  <a:lnTo>
                    <a:pt x="21989" y="13334"/>
                  </a:lnTo>
                  <a:lnTo>
                    <a:pt x="15974" y="903"/>
                  </a:lnTo>
                  <a:lnTo>
                    <a:pt x="8572" y="903"/>
                  </a:lnTo>
                  <a:cubicBezTo>
                    <a:pt x="7937" y="334"/>
                    <a:pt x="7118" y="0"/>
                    <a:pt x="626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2" name="Google Shape;1802;p40"/>
            <p:cNvSpPr/>
            <p:nvPr/>
          </p:nvSpPr>
          <p:spPr>
            <a:xfrm>
              <a:off x="1207076" y="2377945"/>
              <a:ext cx="705132" cy="427588"/>
            </a:xfrm>
            <a:custGeom>
              <a:avLst/>
              <a:gdLst/>
              <a:ahLst/>
              <a:cxnLst/>
              <a:rect l="l" t="t" r="r" b="b"/>
              <a:pathLst>
                <a:path w="21989" h="13334" extrusionOk="0">
                  <a:moveTo>
                    <a:pt x="769" y="0"/>
                  </a:moveTo>
                  <a:cubicBezTo>
                    <a:pt x="301" y="0"/>
                    <a:pt x="0" y="485"/>
                    <a:pt x="201" y="919"/>
                  </a:cubicBezTo>
                  <a:lnTo>
                    <a:pt x="6049" y="13334"/>
                  </a:lnTo>
                  <a:lnTo>
                    <a:pt x="21989" y="13334"/>
                  </a:lnTo>
                  <a:lnTo>
                    <a:pt x="15974" y="903"/>
                  </a:lnTo>
                  <a:lnTo>
                    <a:pt x="8572" y="903"/>
                  </a:lnTo>
                  <a:cubicBezTo>
                    <a:pt x="7937" y="334"/>
                    <a:pt x="7118" y="0"/>
                    <a:pt x="6266" y="0"/>
                  </a:cubicBezTo>
                  <a:close/>
                </a:path>
              </a:pathLst>
            </a:custGeom>
            <a:solidFill>
              <a:schemeClr val="dk2">
                <a:alpha val="3202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3" name="Google Shape;1803;p40"/>
            <p:cNvSpPr/>
            <p:nvPr/>
          </p:nvSpPr>
          <p:spPr>
            <a:xfrm>
              <a:off x="1401021" y="2447595"/>
              <a:ext cx="719082" cy="357937"/>
            </a:xfrm>
            <a:custGeom>
              <a:avLst/>
              <a:gdLst/>
              <a:ahLst/>
              <a:cxnLst/>
              <a:rect l="l" t="t" r="r" b="b"/>
              <a:pathLst>
                <a:path w="22424" h="11162" extrusionOk="0">
                  <a:moveTo>
                    <a:pt x="6784" y="0"/>
                  </a:moveTo>
                  <a:cubicBezTo>
                    <a:pt x="6651" y="0"/>
                    <a:pt x="6517" y="67"/>
                    <a:pt x="6434" y="184"/>
                  </a:cubicBezTo>
                  <a:lnTo>
                    <a:pt x="1" y="11162"/>
                  </a:lnTo>
                  <a:lnTo>
                    <a:pt x="15941" y="11162"/>
                  </a:lnTo>
                  <a:lnTo>
                    <a:pt x="22290" y="485"/>
                  </a:lnTo>
                  <a:cubicBezTo>
                    <a:pt x="22424" y="268"/>
                    <a:pt x="22240" y="0"/>
                    <a:pt x="219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4" name="Google Shape;1804;p40"/>
            <p:cNvSpPr/>
            <p:nvPr/>
          </p:nvSpPr>
          <p:spPr>
            <a:xfrm>
              <a:off x="1537660" y="2605688"/>
              <a:ext cx="217033" cy="201448"/>
            </a:xfrm>
            <a:custGeom>
              <a:avLst/>
              <a:gdLst/>
              <a:ahLst/>
              <a:cxnLst/>
              <a:rect l="l" t="t" r="r" b="b"/>
              <a:pathLst>
                <a:path w="6768" h="6282" extrusionOk="0">
                  <a:moveTo>
                    <a:pt x="1201" y="0"/>
                  </a:moveTo>
                  <a:cubicBezTo>
                    <a:pt x="1036" y="0"/>
                    <a:pt x="880" y="140"/>
                    <a:pt x="903" y="334"/>
                  </a:cubicBezTo>
                  <a:cubicBezTo>
                    <a:pt x="869" y="668"/>
                    <a:pt x="802" y="1002"/>
                    <a:pt x="686" y="1303"/>
                  </a:cubicBezTo>
                  <a:cubicBezTo>
                    <a:pt x="602" y="1570"/>
                    <a:pt x="468" y="1804"/>
                    <a:pt x="318" y="2021"/>
                  </a:cubicBezTo>
                  <a:cubicBezTo>
                    <a:pt x="204" y="2152"/>
                    <a:pt x="106" y="2282"/>
                    <a:pt x="8" y="2397"/>
                  </a:cubicBezTo>
                  <a:lnTo>
                    <a:pt x="8" y="2397"/>
                  </a:lnTo>
                  <a:lnTo>
                    <a:pt x="0" y="2372"/>
                  </a:lnTo>
                  <a:lnTo>
                    <a:pt x="0" y="2405"/>
                  </a:lnTo>
                  <a:cubicBezTo>
                    <a:pt x="3" y="2403"/>
                    <a:pt x="5" y="2400"/>
                    <a:pt x="8" y="2397"/>
                  </a:cubicBezTo>
                  <a:lnTo>
                    <a:pt x="8" y="2397"/>
                  </a:lnTo>
                  <a:lnTo>
                    <a:pt x="1153" y="6282"/>
                  </a:lnTo>
                  <a:cubicBezTo>
                    <a:pt x="2407" y="6015"/>
                    <a:pt x="3977" y="5664"/>
                    <a:pt x="4746" y="5396"/>
                  </a:cubicBezTo>
                  <a:cubicBezTo>
                    <a:pt x="6133" y="4895"/>
                    <a:pt x="6082" y="4778"/>
                    <a:pt x="5999" y="4628"/>
                  </a:cubicBezTo>
                  <a:cubicBezTo>
                    <a:pt x="5963" y="4563"/>
                    <a:pt x="5878" y="4537"/>
                    <a:pt x="5763" y="4537"/>
                  </a:cubicBezTo>
                  <a:cubicBezTo>
                    <a:pt x="5278" y="4537"/>
                    <a:pt x="4243" y="5003"/>
                    <a:pt x="3933" y="5003"/>
                  </a:cubicBezTo>
                  <a:cubicBezTo>
                    <a:pt x="3842" y="5003"/>
                    <a:pt x="3813" y="4963"/>
                    <a:pt x="3877" y="4862"/>
                  </a:cubicBezTo>
                  <a:cubicBezTo>
                    <a:pt x="4211" y="4344"/>
                    <a:pt x="6767" y="3742"/>
                    <a:pt x="6517" y="3324"/>
                  </a:cubicBezTo>
                  <a:cubicBezTo>
                    <a:pt x="6459" y="3232"/>
                    <a:pt x="6342" y="3194"/>
                    <a:pt x="6187" y="3194"/>
                  </a:cubicBezTo>
                  <a:cubicBezTo>
                    <a:pt x="5444" y="3194"/>
                    <a:pt x="3826" y="4077"/>
                    <a:pt x="3660" y="4160"/>
                  </a:cubicBezTo>
                  <a:cubicBezTo>
                    <a:pt x="3631" y="4174"/>
                    <a:pt x="3604" y="4180"/>
                    <a:pt x="3579" y="4180"/>
                  </a:cubicBezTo>
                  <a:cubicBezTo>
                    <a:pt x="3424" y="4180"/>
                    <a:pt x="3337" y="3950"/>
                    <a:pt x="3509" y="3893"/>
                  </a:cubicBezTo>
                  <a:cubicBezTo>
                    <a:pt x="3777" y="3776"/>
                    <a:pt x="6600" y="2573"/>
                    <a:pt x="6266" y="2038"/>
                  </a:cubicBezTo>
                  <a:cubicBezTo>
                    <a:pt x="6220" y="1959"/>
                    <a:pt x="6147" y="1930"/>
                    <a:pt x="6067" y="1930"/>
                  </a:cubicBezTo>
                  <a:cubicBezTo>
                    <a:pt x="5859" y="1930"/>
                    <a:pt x="5598" y="2121"/>
                    <a:pt x="5598" y="2121"/>
                  </a:cubicBezTo>
                  <a:cubicBezTo>
                    <a:pt x="5598" y="2121"/>
                    <a:pt x="3466" y="3222"/>
                    <a:pt x="2981" y="3222"/>
                  </a:cubicBezTo>
                  <a:cubicBezTo>
                    <a:pt x="2935" y="3222"/>
                    <a:pt x="2904" y="3213"/>
                    <a:pt x="2891" y="3191"/>
                  </a:cubicBezTo>
                  <a:cubicBezTo>
                    <a:pt x="2741" y="2923"/>
                    <a:pt x="4228" y="2088"/>
                    <a:pt x="4746" y="1854"/>
                  </a:cubicBezTo>
                  <a:cubicBezTo>
                    <a:pt x="5247" y="1603"/>
                    <a:pt x="5347" y="1269"/>
                    <a:pt x="5046" y="1136"/>
                  </a:cubicBezTo>
                  <a:cubicBezTo>
                    <a:pt x="5034" y="1129"/>
                    <a:pt x="5015" y="1126"/>
                    <a:pt x="4991" y="1126"/>
                  </a:cubicBezTo>
                  <a:cubicBezTo>
                    <a:pt x="4644" y="1126"/>
                    <a:pt x="3210" y="1770"/>
                    <a:pt x="2741" y="2004"/>
                  </a:cubicBezTo>
                  <a:cubicBezTo>
                    <a:pt x="2422" y="2164"/>
                    <a:pt x="1744" y="2513"/>
                    <a:pt x="1397" y="2513"/>
                  </a:cubicBezTo>
                  <a:cubicBezTo>
                    <a:pt x="1198" y="2513"/>
                    <a:pt x="1108" y="2399"/>
                    <a:pt x="1254" y="2071"/>
                  </a:cubicBezTo>
                  <a:cubicBezTo>
                    <a:pt x="1638" y="1152"/>
                    <a:pt x="1605" y="317"/>
                    <a:pt x="1421" y="100"/>
                  </a:cubicBezTo>
                  <a:cubicBezTo>
                    <a:pt x="1357" y="31"/>
                    <a:pt x="1278" y="0"/>
                    <a:pt x="120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5" name="Google Shape;1805;p40"/>
            <p:cNvSpPr/>
            <p:nvPr/>
          </p:nvSpPr>
          <p:spPr>
            <a:xfrm>
              <a:off x="760216" y="2179383"/>
              <a:ext cx="818747" cy="741369"/>
            </a:xfrm>
            <a:custGeom>
              <a:avLst/>
              <a:gdLst/>
              <a:ahLst/>
              <a:cxnLst/>
              <a:rect l="l" t="t" r="r" b="b"/>
              <a:pathLst>
                <a:path w="25532" h="23119" extrusionOk="0">
                  <a:moveTo>
                    <a:pt x="7810" y="1"/>
                  </a:moveTo>
                  <a:cubicBezTo>
                    <a:pt x="1" y="1"/>
                    <a:pt x="2189" y="9551"/>
                    <a:pt x="2189" y="9551"/>
                  </a:cubicBezTo>
                  <a:cubicBezTo>
                    <a:pt x="2557" y="11806"/>
                    <a:pt x="4244" y="15733"/>
                    <a:pt x="5731" y="19158"/>
                  </a:cubicBezTo>
                  <a:cubicBezTo>
                    <a:pt x="7218" y="22583"/>
                    <a:pt x="8438" y="23068"/>
                    <a:pt x="12665" y="23118"/>
                  </a:cubicBezTo>
                  <a:cubicBezTo>
                    <a:pt x="12702" y="23118"/>
                    <a:pt x="12740" y="23119"/>
                    <a:pt x="12777" y="23119"/>
                  </a:cubicBezTo>
                  <a:cubicBezTo>
                    <a:pt x="17329" y="23119"/>
                    <a:pt x="25531" y="20127"/>
                    <a:pt x="25531" y="20127"/>
                  </a:cubicBezTo>
                  <a:lnTo>
                    <a:pt x="23944" y="14697"/>
                  </a:lnTo>
                  <a:cubicBezTo>
                    <a:pt x="23944" y="14697"/>
                    <a:pt x="14918" y="16534"/>
                    <a:pt x="12976" y="16534"/>
                  </a:cubicBezTo>
                  <a:cubicBezTo>
                    <a:pt x="12830" y="16534"/>
                    <a:pt x="12725" y="16524"/>
                    <a:pt x="12665" y="16501"/>
                  </a:cubicBezTo>
                  <a:cubicBezTo>
                    <a:pt x="11813" y="16184"/>
                    <a:pt x="10928" y="13544"/>
                    <a:pt x="10259" y="11740"/>
                  </a:cubicBezTo>
                  <a:cubicBezTo>
                    <a:pt x="10176" y="11539"/>
                    <a:pt x="9173" y="8214"/>
                    <a:pt x="9173" y="8214"/>
                  </a:cubicBezTo>
                  <a:lnTo>
                    <a:pt x="8923" y="60"/>
                  </a:lnTo>
                  <a:cubicBezTo>
                    <a:pt x="8531" y="20"/>
                    <a:pt x="8160" y="1"/>
                    <a:pt x="7810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6" name="Google Shape;1806;p40"/>
            <p:cNvSpPr/>
            <p:nvPr/>
          </p:nvSpPr>
          <p:spPr>
            <a:xfrm>
              <a:off x="886113" y="2270230"/>
              <a:ext cx="696570" cy="658250"/>
            </a:xfrm>
            <a:custGeom>
              <a:avLst/>
              <a:gdLst/>
              <a:ahLst/>
              <a:cxnLst/>
              <a:rect l="l" t="t" r="r" b="b"/>
              <a:pathLst>
                <a:path w="21722" h="20527" extrusionOk="0">
                  <a:moveTo>
                    <a:pt x="4078" y="1"/>
                  </a:moveTo>
                  <a:cubicBezTo>
                    <a:pt x="4078" y="34"/>
                    <a:pt x="4078" y="51"/>
                    <a:pt x="4094" y="68"/>
                  </a:cubicBezTo>
                  <a:cubicBezTo>
                    <a:pt x="4094" y="51"/>
                    <a:pt x="4078" y="34"/>
                    <a:pt x="4078" y="1"/>
                  </a:cubicBezTo>
                  <a:close/>
                  <a:moveTo>
                    <a:pt x="4094" y="68"/>
                  </a:moveTo>
                  <a:cubicBezTo>
                    <a:pt x="4111" y="118"/>
                    <a:pt x="4128" y="185"/>
                    <a:pt x="4161" y="252"/>
                  </a:cubicBezTo>
                  <a:cubicBezTo>
                    <a:pt x="4211" y="435"/>
                    <a:pt x="4312" y="669"/>
                    <a:pt x="4412" y="987"/>
                  </a:cubicBezTo>
                  <a:cubicBezTo>
                    <a:pt x="4646" y="1622"/>
                    <a:pt x="4963" y="2557"/>
                    <a:pt x="5364" y="3760"/>
                  </a:cubicBezTo>
                  <a:cubicBezTo>
                    <a:pt x="5749" y="4963"/>
                    <a:pt x="6216" y="6434"/>
                    <a:pt x="6751" y="8105"/>
                  </a:cubicBezTo>
                  <a:cubicBezTo>
                    <a:pt x="7303" y="9775"/>
                    <a:pt x="7904" y="11663"/>
                    <a:pt x="8689" y="13685"/>
                  </a:cubicBezTo>
                  <a:lnTo>
                    <a:pt x="8689" y="13735"/>
                  </a:lnTo>
                  <a:lnTo>
                    <a:pt x="8739" y="13735"/>
                  </a:lnTo>
                  <a:cubicBezTo>
                    <a:pt x="8810" y="13736"/>
                    <a:pt x="8880" y="13736"/>
                    <a:pt x="8950" y="13736"/>
                  </a:cubicBezTo>
                  <a:cubicBezTo>
                    <a:pt x="10701" y="13736"/>
                    <a:pt x="12450" y="13537"/>
                    <a:pt x="14153" y="13167"/>
                  </a:cubicBezTo>
                  <a:cubicBezTo>
                    <a:pt x="16004" y="12787"/>
                    <a:pt x="17938" y="12292"/>
                    <a:pt x="19969" y="11942"/>
                  </a:cubicBezTo>
                  <a:lnTo>
                    <a:pt x="19969" y="11942"/>
                  </a:lnTo>
                  <a:cubicBezTo>
                    <a:pt x="20247" y="12891"/>
                    <a:pt x="20525" y="13857"/>
                    <a:pt x="20820" y="14838"/>
                  </a:cubicBezTo>
                  <a:cubicBezTo>
                    <a:pt x="21063" y="15664"/>
                    <a:pt x="21306" y="16475"/>
                    <a:pt x="21518" y="17254"/>
                  </a:cubicBezTo>
                  <a:lnTo>
                    <a:pt x="21518" y="17254"/>
                  </a:lnTo>
                  <a:cubicBezTo>
                    <a:pt x="19869" y="17877"/>
                    <a:pt x="18172" y="18403"/>
                    <a:pt x="16459" y="18831"/>
                  </a:cubicBezTo>
                  <a:cubicBezTo>
                    <a:pt x="14788" y="19283"/>
                    <a:pt x="13184" y="19717"/>
                    <a:pt x="11630" y="20018"/>
                  </a:cubicBezTo>
                  <a:cubicBezTo>
                    <a:pt x="10522" y="20234"/>
                    <a:pt x="9423" y="20399"/>
                    <a:pt x="8382" y="20399"/>
                  </a:cubicBezTo>
                  <a:cubicBezTo>
                    <a:pt x="7979" y="20399"/>
                    <a:pt x="7585" y="20374"/>
                    <a:pt x="7202" y="20318"/>
                  </a:cubicBezTo>
                  <a:cubicBezTo>
                    <a:pt x="6868" y="20268"/>
                    <a:pt x="6534" y="20202"/>
                    <a:pt x="6216" y="20085"/>
                  </a:cubicBezTo>
                  <a:cubicBezTo>
                    <a:pt x="6049" y="20034"/>
                    <a:pt x="5899" y="19968"/>
                    <a:pt x="5749" y="19901"/>
                  </a:cubicBezTo>
                  <a:cubicBezTo>
                    <a:pt x="5598" y="19834"/>
                    <a:pt x="5465" y="19767"/>
                    <a:pt x="5314" y="19667"/>
                  </a:cubicBezTo>
                  <a:cubicBezTo>
                    <a:pt x="4780" y="19366"/>
                    <a:pt x="4295" y="18982"/>
                    <a:pt x="3861" y="18547"/>
                  </a:cubicBezTo>
                  <a:cubicBezTo>
                    <a:pt x="3125" y="17795"/>
                    <a:pt x="2474" y="16943"/>
                    <a:pt x="1956" y="16008"/>
                  </a:cubicBezTo>
                  <a:cubicBezTo>
                    <a:pt x="1471" y="15206"/>
                    <a:pt x="1120" y="14487"/>
                    <a:pt x="836" y="13886"/>
                  </a:cubicBezTo>
                  <a:cubicBezTo>
                    <a:pt x="552" y="13301"/>
                    <a:pt x="352" y="12833"/>
                    <a:pt x="218" y="12516"/>
                  </a:cubicBezTo>
                  <a:cubicBezTo>
                    <a:pt x="151" y="12365"/>
                    <a:pt x="84" y="12232"/>
                    <a:pt x="51" y="12148"/>
                  </a:cubicBezTo>
                  <a:cubicBezTo>
                    <a:pt x="18" y="12064"/>
                    <a:pt x="1" y="12031"/>
                    <a:pt x="1" y="12031"/>
                  </a:cubicBezTo>
                  <a:lnTo>
                    <a:pt x="1" y="12031"/>
                  </a:lnTo>
                  <a:cubicBezTo>
                    <a:pt x="1" y="12031"/>
                    <a:pt x="1" y="12081"/>
                    <a:pt x="34" y="12165"/>
                  </a:cubicBezTo>
                  <a:cubicBezTo>
                    <a:pt x="68" y="12248"/>
                    <a:pt x="118" y="12365"/>
                    <a:pt x="185" y="12516"/>
                  </a:cubicBezTo>
                  <a:cubicBezTo>
                    <a:pt x="318" y="12850"/>
                    <a:pt x="519" y="13318"/>
                    <a:pt x="786" y="13919"/>
                  </a:cubicBezTo>
                  <a:cubicBezTo>
                    <a:pt x="1053" y="14504"/>
                    <a:pt x="1404" y="15239"/>
                    <a:pt x="1872" y="16058"/>
                  </a:cubicBezTo>
                  <a:cubicBezTo>
                    <a:pt x="2407" y="16993"/>
                    <a:pt x="3042" y="17846"/>
                    <a:pt x="3777" y="18631"/>
                  </a:cubicBezTo>
                  <a:cubicBezTo>
                    <a:pt x="4228" y="19065"/>
                    <a:pt x="4713" y="19466"/>
                    <a:pt x="5264" y="19767"/>
                  </a:cubicBezTo>
                  <a:cubicBezTo>
                    <a:pt x="5398" y="19867"/>
                    <a:pt x="5548" y="19934"/>
                    <a:pt x="5698" y="20001"/>
                  </a:cubicBezTo>
                  <a:cubicBezTo>
                    <a:pt x="5849" y="20085"/>
                    <a:pt x="6016" y="20151"/>
                    <a:pt x="6166" y="20202"/>
                  </a:cubicBezTo>
                  <a:cubicBezTo>
                    <a:pt x="6500" y="20318"/>
                    <a:pt x="6835" y="20385"/>
                    <a:pt x="7186" y="20435"/>
                  </a:cubicBezTo>
                  <a:cubicBezTo>
                    <a:pt x="7596" y="20499"/>
                    <a:pt x="8017" y="20527"/>
                    <a:pt x="8445" y="20527"/>
                  </a:cubicBezTo>
                  <a:cubicBezTo>
                    <a:pt x="9481" y="20527"/>
                    <a:pt x="10564" y="20364"/>
                    <a:pt x="11663" y="20151"/>
                  </a:cubicBezTo>
                  <a:cubicBezTo>
                    <a:pt x="13217" y="19851"/>
                    <a:pt x="14821" y="19416"/>
                    <a:pt x="16509" y="18982"/>
                  </a:cubicBezTo>
                  <a:cubicBezTo>
                    <a:pt x="18247" y="18531"/>
                    <a:pt x="19968" y="17996"/>
                    <a:pt x="21655" y="17378"/>
                  </a:cubicBezTo>
                  <a:lnTo>
                    <a:pt x="21722" y="17344"/>
                  </a:lnTo>
                  <a:lnTo>
                    <a:pt x="21689" y="17278"/>
                  </a:lnTo>
                  <a:cubicBezTo>
                    <a:pt x="21455" y="16492"/>
                    <a:pt x="21221" y="15640"/>
                    <a:pt x="20970" y="14788"/>
                  </a:cubicBezTo>
                  <a:cubicBezTo>
                    <a:pt x="20669" y="13785"/>
                    <a:pt x="20385" y="12800"/>
                    <a:pt x="20085" y="11831"/>
                  </a:cubicBezTo>
                  <a:lnTo>
                    <a:pt x="20068" y="11764"/>
                  </a:lnTo>
                  <a:lnTo>
                    <a:pt x="20001" y="11780"/>
                  </a:lnTo>
                  <a:cubicBezTo>
                    <a:pt x="17946" y="12131"/>
                    <a:pt x="15991" y="12633"/>
                    <a:pt x="14120" y="13017"/>
                  </a:cubicBezTo>
                  <a:cubicBezTo>
                    <a:pt x="12366" y="13414"/>
                    <a:pt x="10580" y="13598"/>
                    <a:pt x="8793" y="13602"/>
                  </a:cubicBezTo>
                  <a:lnTo>
                    <a:pt x="8793" y="13602"/>
                  </a:lnTo>
                  <a:cubicBezTo>
                    <a:pt x="8014" y="11609"/>
                    <a:pt x="7416" y="9733"/>
                    <a:pt x="6868" y="8071"/>
                  </a:cubicBezTo>
                  <a:cubicBezTo>
                    <a:pt x="6317" y="6384"/>
                    <a:pt x="5849" y="4930"/>
                    <a:pt x="5448" y="3727"/>
                  </a:cubicBezTo>
                  <a:cubicBezTo>
                    <a:pt x="5030" y="2541"/>
                    <a:pt x="4696" y="1605"/>
                    <a:pt x="4462" y="970"/>
                  </a:cubicBezTo>
                  <a:cubicBezTo>
                    <a:pt x="4345" y="653"/>
                    <a:pt x="4245" y="419"/>
                    <a:pt x="4178" y="252"/>
                  </a:cubicBezTo>
                  <a:lnTo>
                    <a:pt x="4094" y="68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7" name="Google Shape;1807;p40"/>
            <p:cNvSpPr/>
            <p:nvPr/>
          </p:nvSpPr>
          <p:spPr>
            <a:xfrm>
              <a:off x="847536" y="2430247"/>
              <a:ext cx="65418" cy="67662"/>
            </a:xfrm>
            <a:custGeom>
              <a:avLst/>
              <a:gdLst/>
              <a:ahLst/>
              <a:cxnLst/>
              <a:rect l="l" t="t" r="r" b="b"/>
              <a:pathLst>
                <a:path w="2040" h="2110" extrusionOk="0">
                  <a:moveTo>
                    <a:pt x="1185" y="0"/>
                  </a:moveTo>
                  <a:cubicBezTo>
                    <a:pt x="1164" y="0"/>
                    <a:pt x="1143" y="2"/>
                    <a:pt x="1120" y="7"/>
                  </a:cubicBezTo>
                  <a:cubicBezTo>
                    <a:pt x="1098" y="5"/>
                    <a:pt x="1076" y="4"/>
                    <a:pt x="1053" y="4"/>
                  </a:cubicBezTo>
                  <a:cubicBezTo>
                    <a:pt x="856" y="4"/>
                    <a:pt x="650" y="69"/>
                    <a:pt x="485" y="174"/>
                  </a:cubicBezTo>
                  <a:cubicBezTo>
                    <a:pt x="201" y="358"/>
                    <a:pt x="18" y="675"/>
                    <a:pt x="18" y="1009"/>
                  </a:cubicBezTo>
                  <a:cubicBezTo>
                    <a:pt x="1" y="1444"/>
                    <a:pt x="235" y="1828"/>
                    <a:pt x="619" y="2028"/>
                  </a:cubicBezTo>
                  <a:cubicBezTo>
                    <a:pt x="746" y="2084"/>
                    <a:pt x="880" y="2110"/>
                    <a:pt x="1013" y="2110"/>
                  </a:cubicBezTo>
                  <a:cubicBezTo>
                    <a:pt x="1284" y="2110"/>
                    <a:pt x="1554" y="2002"/>
                    <a:pt x="1755" y="1811"/>
                  </a:cubicBezTo>
                  <a:cubicBezTo>
                    <a:pt x="1889" y="1678"/>
                    <a:pt x="1989" y="1511"/>
                    <a:pt x="2006" y="1327"/>
                  </a:cubicBezTo>
                  <a:cubicBezTo>
                    <a:pt x="2039" y="1176"/>
                    <a:pt x="2023" y="1009"/>
                    <a:pt x="1972" y="876"/>
                  </a:cubicBezTo>
                  <a:cubicBezTo>
                    <a:pt x="1906" y="658"/>
                    <a:pt x="1772" y="475"/>
                    <a:pt x="1571" y="358"/>
                  </a:cubicBezTo>
                  <a:cubicBezTo>
                    <a:pt x="1505" y="308"/>
                    <a:pt x="1438" y="274"/>
                    <a:pt x="1354" y="274"/>
                  </a:cubicBezTo>
                  <a:cubicBezTo>
                    <a:pt x="1354" y="291"/>
                    <a:pt x="1421" y="324"/>
                    <a:pt x="1538" y="408"/>
                  </a:cubicBezTo>
                  <a:cubicBezTo>
                    <a:pt x="1705" y="525"/>
                    <a:pt x="1822" y="709"/>
                    <a:pt x="1872" y="892"/>
                  </a:cubicBezTo>
                  <a:cubicBezTo>
                    <a:pt x="1956" y="1193"/>
                    <a:pt x="1889" y="1494"/>
                    <a:pt x="1672" y="1694"/>
                  </a:cubicBezTo>
                  <a:cubicBezTo>
                    <a:pt x="1495" y="1860"/>
                    <a:pt x="1266" y="1953"/>
                    <a:pt x="1030" y="1953"/>
                  </a:cubicBezTo>
                  <a:cubicBezTo>
                    <a:pt x="910" y="1953"/>
                    <a:pt x="788" y="1929"/>
                    <a:pt x="669" y="1878"/>
                  </a:cubicBezTo>
                  <a:cubicBezTo>
                    <a:pt x="352" y="1711"/>
                    <a:pt x="151" y="1377"/>
                    <a:pt x="151" y="1009"/>
                  </a:cubicBezTo>
                  <a:cubicBezTo>
                    <a:pt x="151" y="725"/>
                    <a:pt x="302" y="441"/>
                    <a:pt x="552" y="274"/>
                  </a:cubicBezTo>
                  <a:cubicBezTo>
                    <a:pt x="719" y="157"/>
                    <a:pt x="920" y="74"/>
                    <a:pt x="1120" y="57"/>
                  </a:cubicBezTo>
                  <a:cubicBezTo>
                    <a:pt x="1204" y="57"/>
                    <a:pt x="1271" y="57"/>
                    <a:pt x="1354" y="40"/>
                  </a:cubicBezTo>
                  <a:cubicBezTo>
                    <a:pt x="1293" y="16"/>
                    <a:pt x="1241" y="0"/>
                    <a:pt x="118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8" name="Google Shape;1808;p40"/>
            <p:cNvSpPr/>
            <p:nvPr/>
          </p:nvSpPr>
          <p:spPr>
            <a:xfrm>
              <a:off x="1444953" y="2739057"/>
              <a:ext cx="65418" cy="67598"/>
            </a:xfrm>
            <a:custGeom>
              <a:avLst/>
              <a:gdLst/>
              <a:ahLst/>
              <a:cxnLst/>
              <a:rect l="l" t="t" r="r" b="b"/>
              <a:pathLst>
                <a:path w="2040" h="2108" extrusionOk="0">
                  <a:moveTo>
                    <a:pt x="1104" y="1"/>
                  </a:moveTo>
                  <a:cubicBezTo>
                    <a:pt x="886" y="1"/>
                    <a:pt x="669" y="68"/>
                    <a:pt x="485" y="185"/>
                  </a:cubicBezTo>
                  <a:cubicBezTo>
                    <a:pt x="201" y="368"/>
                    <a:pt x="18" y="686"/>
                    <a:pt x="1" y="1020"/>
                  </a:cubicBezTo>
                  <a:cubicBezTo>
                    <a:pt x="1" y="1438"/>
                    <a:pt x="235" y="1839"/>
                    <a:pt x="602" y="2023"/>
                  </a:cubicBezTo>
                  <a:cubicBezTo>
                    <a:pt x="739" y="2080"/>
                    <a:pt x="882" y="2107"/>
                    <a:pt x="1022" y="2107"/>
                  </a:cubicBezTo>
                  <a:cubicBezTo>
                    <a:pt x="1294" y="2107"/>
                    <a:pt x="1557" y="2004"/>
                    <a:pt x="1755" y="1805"/>
                  </a:cubicBezTo>
                  <a:cubicBezTo>
                    <a:pt x="1889" y="1688"/>
                    <a:pt x="1973" y="1521"/>
                    <a:pt x="2006" y="1338"/>
                  </a:cubicBezTo>
                  <a:cubicBezTo>
                    <a:pt x="2039" y="1187"/>
                    <a:pt x="2023" y="1020"/>
                    <a:pt x="1973" y="870"/>
                  </a:cubicBezTo>
                  <a:cubicBezTo>
                    <a:pt x="1906" y="653"/>
                    <a:pt x="1755" y="485"/>
                    <a:pt x="1572" y="352"/>
                  </a:cubicBezTo>
                  <a:cubicBezTo>
                    <a:pt x="1505" y="318"/>
                    <a:pt x="1421" y="285"/>
                    <a:pt x="1338" y="285"/>
                  </a:cubicBezTo>
                  <a:cubicBezTo>
                    <a:pt x="1338" y="302"/>
                    <a:pt x="1421" y="318"/>
                    <a:pt x="1538" y="402"/>
                  </a:cubicBezTo>
                  <a:cubicBezTo>
                    <a:pt x="1705" y="536"/>
                    <a:pt x="1822" y="703"/>
                    <a:pt x="1872" y="903"/>
                  </a:cubicBezTo>
                  <a:cubicBezTo>
                    <a:pt x="1956" y="1187"/>
                    <a:pt x="1872" y="1505"/>
                    <a:pt x="1655" y="1705"/>
                  </a:cubicBezTo>
                  <a:cubicBezTo>
                    <a:pt x="1478" y="1871"/>
                    <a:pt x="1250" y="1956"/>
                    <a:pt x="1019" y="1956"/>
                  </a:cubicBezTo>
                  <a:cubicBezTo>
                    <a:pt x="901" y="1956"/>
                    <a:pt x="782" y="1934"/>
                    <a:pt x="669" y="1889"/>
                  </a:cubicBezTo>
                  <a:cubicBezTo>
                    <a:pt x="352" y="1722"/>
                    <a:pt x="135" y="1388"/>
                    <a:pt x="151" y="1020"/>
                  </a:cubicBezTo>
                  <a:cubicBezTo>
                    <a:pt x="151" y="719"/>
                    <a:pt x="302" y="452"/>
                    <a:pt x="552" y="268"/>
                  </a:cubicBezTo>
                  <a:cubicBezTo>
                    <a:pt x="719" y="151"/>
                    <a:pt x="903" y="84"/>
                    <a:pt x="1120" y="68"/>
                  </a:cubicBezTo>
                  <a:cubicBezTo>
                    <a:pt x="1187" y="68"/>
                    <a:pt x="1271" y="68"/>
                    <a:pt x="1338" y="51"/>
                  </a:cubicBezTo>
                  <a:cubicBezTo>
                    <a:pt x="1271" y="18"/>
                    <a:pt x="1187" y="1"/>
                    <a:pt x="1104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9" name="Google Shape;1809;p40"/>
            <p:cNvSpPr/>
            <p:nvPr/>
          </p:nvSpPr>
          <p:spPr>
            <a:xfrm>
              <a:off x="1231704" y="2717091"/>
              <a:ext cx="65418" cy="67983"/>
            </a:xfrm>
            <a:custGeom>
              <a:avLst/>
              <a:gdLst/>
              <a:ahLst/>
              <a:cxnLst/>
              <a:rect l="l" t="t" r="r" b="b"/>
              <a:pathLst>
                <a:path w="2040" h="2120" extrusionOk="0">
                  <a:moveTo>
                    <a:pt x="1120" y="1"/>
                  </a:moveTo>
                  <a:cubicBezTo>
                    <a:pt x="903" y="1"/>
                    <a:pt x="686" y="68"/>
                    <a:pt x="502" y="185"/>
                  </a:cubicBezTo>
                  <a:cubicBezTo>
                    <a:pt x="201" y="368"/>
                    <a:pt x="34" y="686"/>
                    <a:pt x="18" y="1020"/>
                  </a:cubicBezTo>
                  <a:cubicBezTo>
                    <a:pt x="1" y="1454"/>
                    <a:pt x="235" y="1839"/>
                    <a:pt x="619" y="2039"/>
                  </a:cubicBezTo>
                  <a:cubicBezTo>
                    <a:pt x="750" y="2094"/>
                    <a:pt x="886" y="2120"/>
                    <a:pt x="1020" y="2120"/>
                  </a:cubicBezTo>
                  <a:cubicBezTo>
                    <a:pt x="1298" y="2120"/>
                    <a:pt x="1569" y="2008"/>
                    <a:pt x="1772" y="1805"/>
                  </a:cubicBezTo>
                  <a:cubicBezTo>
                    <a:pt x="1906" y="1688"/>
                    <a:pt x="1989" y="1521"/>
                    <a:pt x="2023" y="1338"/>
                  </a:cubicBezTo>
                  <a:cubicBezTo>
                    <a:pt x="2039" y="1187"/>
                    <a:pt x="2039" y="1020"/>
                    <a:pt x="1989" y="870"/>
                  </a:cubicBezTo>
                  <a:cubicBezTo>
                    <a:pt x="1922" y="669"/>
                    <a:pt x="1772" y="485"/>
                    <a:pt x="1588" y="368"/>
                  </a:cubicBezTo>
                  <a:cubicBezTo>
                    <a:pt x="1521" y="318"/>
                    <a:pt x="1438" y="285"/>
                    <a:pt x="1354" y="285"/>
                  </a:cubicBezTo>
                  <a:cubicBezTo>
                    <a:pt x="1354" y="302"/>
                    <a:pt x="1438" y="318"/>
                    <a:pt x="1555" y="419"/>
                  </a:cubicBezTo>
                  <a:cubicBezTo>
                    <a:pt x="1705" y="535"/>
                    <a:pt x="1822" y="703"/>
                    <a:pt x="1872" y="903"/>
                  </a:cubicBezTo>
                  <a:cubicBezTo>
                    <a:pt x="1972" y="1187"/>
                    <a:pt x="1889" y="1505"/>
                    <a:pt x="1672" y="1705"/>
                  </a:cubicBezTo>
                  <a:cubicBezTo>
                    <a:pt x="1495" y="1871"/>
                    <a:pt x="1266" y="1964"/>
                    <a:pt x="1035" y="1964"/>
                  </a:cubicBezTo>
                  <a:cubicBezTo>
                    <a:pt x="917" y="1964"/>
                    <a:pt x="799" y="1940"/>
                    <a:pt x="686" y="1889"/>
                  </a:cubicBezTo>
                  <a:cubicBezTo>
                    <a:pt x="352" y="1722"/>
                    <a:pt x="151" y="1388"/>
                    <a:pt x="151" y="1020"/>
                  </a:cubicBezTo>
                  <a:cubicBezTo>
                    <a:pt x="168" y="719"/>
                    <a:pt x="318" y="452"/>
                    <a:pt x="552" y="285"/>
                  </a:cubicBezTo>
                  <a:cubicBezTo>
                    <a:pt x="719" y="151"/>
                    <a:pt x="920" y="84"/>
                    <a:pt x="1120" y="68"/>
                  </a:cubicBezTo>
                  <a:cubicBezTo>
                    <a:pt x="1204" y="68"/>
                    <a:pt x="1287" y="68"/>
                    <a:pt x="1354" y="51"/>
                  </a:cubicBezTo>
                  <a:cubicBezTo>
                    <a:pt x="1287" y="18"/>
                    <a:pt x="1204" y="1"/>
                    <a:pt x="112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0" name="Google Shape;1810;p40"/>
            <p:cNvSpPr/>
            <p:nvPr/>
          </p:nvSpPr>
          <p:spPr>
            <a:xfrm>
              <a:off x="1036157" y="2787286"/>
              <a:ext cx="65386" cy="67598"/>
            </a:xfrm>
            <a:custGeom>
              <a:avLst/>
              <a:gdLst/>
              <a:ahLst/>
              <a:cxnLst/>
              <a:rect l="l" t="t" r="r" b="b"/>
              <a:pathLst>
                <a:path w="2039" h="2108" extrusionOk="0">
                  <a:moveTo>
                    <a:pt x="1103" y="1"/>
                  </a:moveTo>
                  <a:cubicBezTo>
                    <a:pt x="886" y="1"/>
                    <a:pt x="669" y="67"/>
                    <a:pt x="485" y="184"/>
                  </a:cubicBezTo>
                  <a:cubicBezTo>
                    <a:pt x="201" y="368"/>
                    <a:pt x="17" y="686"/>
                    <a:pt x="0" y="1020"/>
                  </a:cubicBezTo>
                  <a:cubicBezTo>
                    <a:pt x="0" y="1438"/>
                    <a:pt x="234" y="1839"/>
                    <a:pt x="602" y="2022"/>
                  </a:cubicBezTo>
                  <a:cubicBezTo>
                    <a:pt x="739" y="2079"/>
                    <a:pt x="881" y="2107"/>
                    <a:pt x="1022" y="2107"/>
                  </a:cubicBezTo>
                  <a:cubicBezTo>
                    <a:pt x="1293" y="2107"/>
                    <a:pt x="1556" y="2003"/>
                    <a:pt x="1755" y="1805"/>
                  </a:cubicBezTo>
                  <a:cubicBezTo>
                    <a:pt x="1888" y="1671"/>
                    <a:pt x="1972" y="1521"/>
                    <a:pt x="2005" y="1337"/>
                  </a:cubicBezTo>
                  <a:cubicBezTo>
                    <a:pt x="2039" y="1170"/>
                    <a:pt x="2022" y="1020"/>
                    <a:pt x="1972" y="869"/>
                  </a:cubicBezTo>
                  <a:cubicBezTo>
                    <a:pt x="1905" y="652"/>
                    <a:pt x="1755" y="468"/>
                    <a:pt x="1571" y="352"/>
                  </a:cubicBezTo>
                  <a:cubicBezTo>
                    <a:pt x="1504" y="301"/>
                    <a:pt x="1420" y="285"/>
                    <a:pt x="1337" y="285"/>
                  </a:cubicBezTo>
                  <a:cubicBezTo>
                    <a:pt x="1337" y="301"/>
                    <a:pt x="1420" y="318"/>
                    <a:pt x="1537" y="402"/>
                  </a:cubicBezTo>
                  <a:cubicBezTo>
                    <a:pt x="1705" y="535"/>
                    <a:pt x="1805" y="702"/>
                    <a:pt x="1872" y="903"/>
                  </a:cubicBezTo>
                  <a:cubicBezTo>
                    <a:pt x="1955" y="1187"/>
                    <a:pt x="1872" y="1504"/>
                    <a:pt x="1654" y="1705"/>
                  </a:cubicBezTo>
                  <a:cubicBezTo>
                    <a:pt x="1477" y="1871"/>
                    <a:pt x="1249" y="1956"/>
                    <a:pt x="1018" y="1956"/>
                  </a:cubicBezTo>
                  <a:cubicBezTo>
                    <a:pt x="900" y="1956"/>
                    <a:pt x="782" y="1934"/>
                    <a:pt x="669" y="1889"/>
                  </a:cubicBezTo>
                  <a:cubicBezTo>
                    <a:pt x="351" y="1722"/>
                    <a:pt x="134" y="1387"/>
                    <a:pt x="151" y="1020"/>
                  </a:cubicBezTo>
                  <a:cubicBezTo>
                    <a:pt x="151" y="719"/>
                    <a:pt x="301" y="435"/>
                    <a:pt x="552" y="268"/>
                  </a:cubicBezTo>
                  <a:cubicBezTo>
                    <a:pt x="719" y="151"/>
                    <a:pt x="903" y="84"/>
                    <a:pt x="1120" y="67"/>
                  </a:cubicBezTo>
                  <a:cubicBezTo>
                    <a:pt x="1187" y="67"/>
                    <a:pt x="1270" y="67"/>
                    <a:pt x="1337" y="51"/>
                  </a:cubicBezTo>
                  <a:cubicBezTo>
                    <a:pt x="1270" y="17"/>
                    <a:pt x="1187" y="1"/>
                    <a:pt x="110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1" name="Google Shape;1811;p40"/>
            <p:cNvSpPr/>
            <p:nvPr/>
          </p:nvSpPr>
          <p:spPr>
            <a:xfrm>
              <a:off x="1005596" y="2575449"/>
              <a:ext cx="65418" cy="67791"/>
            </a:xfrm>
            <a:custGeom>
              <a:avLst/>
              <a:gdLst/>
              <a:ahLst/>
              <a:cxnLst/>
              <a:rect l="l" t="t" r="r" b="b"/>
              <a:pathLst>
                <a:path w="2040" h="2114" extrusionOk="0">
                  <a:moveTo>
                    <a:pt x="1183" y="1"/>
                  </a:moveTo>
                  <a:cubicBezTo>
                    <a:pt x="1162" y="1"/>
                    <a:pt x="1141" y="3"/>
                    <a:pt x="1120" y="7"/>
                  </a:cubicBezTo>
                  <a:cubicBezTo>
                    <a:pt x="903" y="7"/>
                    <a:pt x="686" y="57"/>
                    <a:pt x="502" y="191"/>
                  </a:cubicBezTo>
                  <a:cubicBezTo>
                    <a:pt x="201" y="358"/>
                    <a:pt x="18" y="675"/>
                    <a:pt x="18" y="1026"/>
                  </a:cubicBezTo>
                  <a:cubicBezTo>
                    <a:pt x="1" y="1444"/>
                    <a:pt x="235" y="1845"/>
                    <a:pt x="619" y="2029"/>
                  </a:cubicBezTo>
                  <a:cubicBezTo>
                    <a:pt x="750" y="2085"/>
                    <a:pt x="891" y="2113"/>
                    <a:pt x="1032" y="2113"/>
                  </a:cubicBezTo>
                  <a:cubicBezTo>
                    <a:pt x="1303" y="2113"/>
                    <a:pt x="1574" y="2009"/>
                    <a:pt x="1772" y="1811"/>
                  </a:cubicBezTo>
                  <a:cubicBezTo>
                    <a:pt x="1906" y="1678"/>
                    <a:pt x="1989" y="1511"/>
                    <a:pt x="2023" y="1327"/>
                  </a:cubicBezTo>
                  <a:cubicBezTo>
                    <a:pt x="2039" y="1176"/>
                    <a:pt x="2023" y="1026"/>
                    <a:pt x="1972" y="876"/>
                  </a:cubicBezTo>
                  <a:cubicBezTo>
                    <a:pt x="1906" y="658"/>
                    <a:pt x="1772" y="475"/>
                    <a:pt x="1588" y="358"/>
                  </a:cubicBezTo>
                  <a:cubicBezTo>
                    <a:pt x="1521" y="308"/>
                    <a:pt x="1438" y="291"/>
                    <a:pt x="1354" y="274"/>
                  </a:cubicBezTo>
                  <a:lnTo>
                    <a:pt x="1354" y="274"/>
                  </a:lnTo>
                  <a:cubicBezTo>
                    <a:pt x="1354" y="291"/>
                    <a:pt x="1438" y="324"/>
                    <a:pt x="1555" y="408"/>
                  </a:cubicBezTo>
                  <a:cubicBezTo>
                    <a:pt x="1705" y="525"/>
                    <a:pt x="1822" y="709"/>
                    <a:pt x="1872" y="909"/>
                  </a:cubicBezTo>
                  <a:cubicBezTo>
                    <a:pt x="1972" y="1193"/>
                    <a:pt x="1889" y="1494"/>
                    <a:pt x="1672" y="1711"/>
                  </a:cubicBezTo>
                  <a:cubicBezTo>
                    <a:pt x="1495" y="1877"/>
                    <a:pt x="1267" y="1962"/>
                    <a:pt x="1036" y="1962"/>
                  </a:cubicBezTo>
                  <a:cubicBezTo>
                    <a:pt x="918" y="1962"/>
                    <a:pt x="799" y="1940"/>
                    <a:pt x="686" y="1895"/>
                  </a:cubicBezTo>
                  <a:cubicBezTo>
                    <a:pt x="352" y="1728"/>
                    <a:pt x="151" y="1394"/>
                    <a:pt x="151" y="1026"/>
                  </a:cubicBezTo>
                  <a:cubicBezTo>
                    <a:pt x="168" y="725"/>
                    <a:pt x="302" y="441"/>
                    <a:pt x="552" y="274"/>
                  </a:cubicBezTo>
                  <a:cubicBezTo>
                    <a:pt x="719" y="157"/>
                    <a:pt x="920" y="74"/>
                    <a:pt x="1120" y="57"/>
                  </a:cubicBezTo>
                  <a:lnTo>
                    <a:pt x="1354" y="57"/>
                  </a:lnTo>
                  <a:cubicBezTo>
                    <a:pt x="1304" y="19"/>
                    <a:pt x="1245" y="1"/>
                    <a:pt x="118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2" name="Google Shape;1812;p40"/>
            <p:cNvSpPr/>
            <p:nvPr/>
          </p:nvSpPr>
          <p:spPr>
            <a:xfrm>
              <a:off x="911831" y="2258461"/>
              <a:ext cx="65418" cy="67566"/>
            </a:xfrm>
            <a:custGeom>
              <a:avLst/>
              <a:gdLst/>
              <a:ahLst/>
              <a:cxnLst/>
              <a:rect l="l" t="t" r="r" b="b"/>
              <a:pathLst>
                <a:path w="2040" h="2107" extrusionOk="0">
                  <a:moveTo>
                    <a:pt x="1120" y="0"/>
                  </a:moveTo>
                  <a:cubicBezTo>
                    <a:pt x="886" y="0"/>
                    <a:pt x="669" y="67"/>
                    <a:pt x="485" y="184"/>
                  </a:cubicBezTo>
                  <a:cubicBezTo>
                    <a:pt x="201" y="368"/>
                    <a:pt x="18" y="685"/>
                    <a:pt x="18" y="1020"/>
                  </a:cubicBezTo>
                  <a:cubicBezTo>
                    <a:pt x="1" y="1437"/>
                    <a:pt x="235" y="1838"/>
                    <a:pt x="619" y="2022"/>
                  </a:cubicBezTo>
                  <a:cubicBezTo>
                    <a:pt x="750" y="2079"/>
                    <a:pt x="889" y="2107"/>
                    <a:pt x="1027" y="2107"/>
                  </a:cubicBezTo>
                  <a:cubicBezTo>
                    <a:pt x="1294" y="2107"/>
                    <a:pt x="1557" y="2003"/>
                    <a:pt x="1755" y="1805"/>
                  </a:cubicBezTo>
                  <a:cubicBezTo>
                    <a:pt x="1889" y="1688"/>
                    <a:pt x="1989" y="1521"/>
                    <a:pt x="2006" y="1337"/>
                  </a:cubicBezTo>
                  <a:cubicBezTo>
                    <a:pt x="2039" y="1187"/>
                    <a:pt x="2023" y="1020"/>
                    <a:pt x="1972" y="869"/>
                  </a:cubicBezTo>
                  <a:cubicBezTo>
                    <a:pt x="1906" y="652"/>
                    <a:pt x="1772" y="468"/>
                    <a:pt x="1571" y="351"/>
                  </a:cubicBezTo>
                  <a:cubicBezTo>
                    <a:pt x="1505" y="318"/>
                    <a:pt x="1438" y="284"/>
                    <a:pt x="1354" y="284"/>
                  </a:cubicBezTo>
                  <a:cubicBezTo>
                    <a:pt x="1354" y="301"/>
                    <a:pt x="1421" y="318"/>
                    <a:pt x="1538" y="401"/>
                  </a:cubicBezTo>
                  <a:cubicBezTo>
                    <a:pt x="1705" y="535"/>
                    <a:pt x="1822" y="702"/>
                    <a:pt x="1872" y="903"/>
                  </a:cubicBezTo>
                  <a:cubicBezTo>
                    <a:pt x="1956" y="1187"/>
                    <a:pt x="1872" y="1504"/>
                    <a:pt x="1672" y="1705"/>
                  </a:cubicBezTo>
                  <a:cubicBezTo>
                    <a:pt x="1495" y="1870"/>
                    <a:pt x="1267" y="1956"/>
                    <a:pt x="1031" y="1956"/>
                  </a:cubicBezTo>
                  <a:cubicBezTo>
                    <a:pt x="910" y="1956"/>
                    <a:pt x="788" y="1934"/>
                    <a:pt x="669" y="1888"/>
                  </a:cubicBezTo>
                  <a:cubicBezTo>
                    <a:pt x="352" y="1721"/>
                    <a:pt x="151" y="1387"/>
                    <a:pt x="151" y="1020"/>
                  </a:cubicBezTo>
                  <a:cubicBezTo>
                    <a:pt x="151" y="719"/>
                    <a:pt x="302" y="435"/>
                    <a:pt x="552" y="268"/>
                  </a:cubicBezTo>
                  <a:cubicBezTo>
                    <a:pt x="719" y="151"/>
                    <a:pt x="920" y="84"/>
                    <a:pt x="1120" y="67"/>
                  </a:cubicBezTo>
                  <a:cubicBezTo>
                    <a:pt x="1187" y="67"/>
                    <a:pt x="1271" y="67"/>
                    <a:pt x="1354" y="50"/>
                  </a:cubicBezTo>
                  <a:cubicBezTo>
                    <a:pt x="1271" y="17"/>
                    <a:pt x="1204" y="0"/>
                    <a:pt x="112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13" name="Google Shape;1813;p40"/>
          <p:cNvSpPr txBox="1">
            <a:spLocks noGrp="1"/>
          </p:cNvSpPr>
          <p:nvPr>
            <p:ph type="body" idx="1"/>
          </p:nvPr>
        </p:nvSpPr>
        <p:spPr>
          <a:xfrm>
            <a:off x="2776200" y="1514400"/>
            <a:ext cx="3591600" cy="115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s-CO" dirty="0"/>
              <a:t>Ab In-</a:t>
            </a:r>
            <a:r>
              <a:rPr lang="es-CO" dirty="0" err="1"/>
              <a:t>Bev</a:t>
            </a:r>
            <a:r>
              <a:rPr lang="es-CO" dirty="0"/>
              <a:t> siempre está buscando optimizar sus recursos de inversión en el </a:t>
            </a:r>
            <a:r>
              <a:rPr lang="es-CO" dirty="0" err="1"/>
              <a:t>Trade</a:t>
            </a:r>
            <a:r>
              <a:rPr lang="es-CO" dirty="0"/>
              <a:t>. En este caso, lo que se busca es encontrar la probabilidad, en cada uno de sus más de 9000 clientes, de que cada una de 5 marcas escogidas sea comprada en el siguiente mes.</a:t>
            </a:r>
            <a:endParaRPr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4F26CF-5D97-4036-8473-1B30235DE87F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s-CO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AA586A1-CC23-4E3F-BC60-4C1F742154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5923366"/>
              </p:ext>
            </p:extLst>
          </p:nvPr>
        </p:nvGraphicFramePr>
        <p:xfrm>
          <a:off x="2771345" y="2848792"/>
          <a:ext cx="3632200" cy="1657350"/>
        </p:xfrm>
        <a:graphic>
          <a:graphicData uri="http://schemas.openxmlformats.org/drawingml/2006/table">
            <a:tbl>
              <a:tblPr/>
              <a:tblGrid>
                <a:gridCol w="469900">
                  <a:extLst>
                    <a:ext uri="{9D8B030D-6E8A-4147-A177-3AD203B41FA5}">
                      <a16:colId xmlns:a16="http://schemas.microsoft.com/office/drawing/2014/main" val="3554226164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1901346506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31714394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4130934706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4123123244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199552716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lient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arca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arca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arca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arca_Inno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arca_Inno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34593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275143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340526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9630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504099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614159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345588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012653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871445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AED34A-14F6-4E02-8707-C94315C4D3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513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5" imgW="393" imgH="403" progId="TCLayout.ActiveDocument.1">
                  <p:embed/>
                </p:oleObj>
              </mc:Choice>
              <mc:Fallback>
                <p:oleObj name="think-cell Slide" r:id="rId5" imgW="393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17" name="Google Shape;2117;p44"/>
          <p:cNvSpPr txBox="1">
            <a:spLocks noGrp="1"/>
          </p:cNvSpPr>
          <p:nvPr>
            <p:ph type="title" idx="3"/>
          </p:nvPr>
        </p:nvSpPr>
        <p:spPr>
          <a:xfrm>
            <a:off x="720000" y="540000"/>
            <a:ext cx="7704000" cy="32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CO" dirty="0"/>
              <a:t>Metodología</a:t>
            </a:r>
            <a:endParaRPr dirty="0"/>
          </a:p>
        </p:txBody>
      </p:sp>
      <p:grpSp>
        <p:nvGrpSpPr>
          <p:cNvPr id="2118" name="Google Shape;2118;p44"/>
          <p:cNvGrpSpPr/>
          <p:nvPr/>
        </p:nvGrpSpPr>
        <p:grpSpPr>
          <a:xfrm>
            <a:off x="1814857" y="3659133"/>
            <a:ext cx="431105" cy="598726"/>
            <a:chOff x="1880824" y="3649932"/>
            <a:chExt cx="431105" cy="598726"/>
          </a:xfrm>
        </p:grpSpPr>
        <p:sp>
          <p:nvSpPr>
            <p:cNvPr id="2119" name="Google Shape;2119;p44"/>
            <p:cNvSpPr/>
            <p:nvPr/>
          </p:nvSpPr>
          <p:spPr>
            <a:xfrm>
              <a:off x="1880824" y="3649932"/>
              <a:ext cx="431105" cy="546260"/>
            </a:xfrm>
            <a:custGeom>
              <a:avLst/>
              <a:gdLst/>
              <a:ahLst/>
              <a:cxnLst/>
              <a:rect l="l" t="t" r="r" b="b"/>
              <a:pathLst>
                <a:path w="13451" h="17044" extrusionOk="0">
                  <a:moveTo>
                    <a:pt x="1" y="1"/>
                  </a:moveTo>
                  <a:lnTo>
                    <a:pt x="1" y="17043"/>
                  </a:lnTo>
                  <a:lnTo>
                    <a:pt x="12465" y="17043"/>
                  </a:lnTo>
                  <a:cubicBezTo>
                    <a:pt x="13016" y="17043"/>
                    <a:pt x="13451" y="16609"/>
                    <a:pt x="13451" y="16057"/>
                  </a:cubicBezTo>
                  <a:lnTo>
                    <a:pt x="13451" y="986"/>
                  </a:lnTo>
                  <a:cubicBezTo>
                    <a:pt x="13451" y="435"/>
                    <a:pt x="13016" y="1"/>
                    <a:pt x="124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0" name="Google Shape;2120;p44"/>
            <p:cNvSpPr/>
            <p:nvPr/>
          </p:nvSpPr>
          <p:spPr>
            <a:xfrm>
              <a:off x="2196229" y="3649932"/>
              <a:ext cx="52530" cy="546260"/>
            </a:xfrm>
            <a:custGeom>
              <a:avLst/>
              <a:gdLst/>
              <a:ahLst/>
              <a:cxnLst/>
              <a:rect l="l" t="t" r="r" b="b"/>
              <a:pathLst>
                <a:path w="1639" h="17044" extrusionOk="0">
                  <a:moveTo>
                    <a:pt x="1" y="1"/>
                  </a:moveTo>
                  <a:lnTo>
                    <a:pt x="1" y="17043"/>
                  </a:lnTo>
                  <a:lnTo>
                    <a:pt x="1638" y="17043"/>
                  </a:lnTo>
                  <a:lnTo>
                    <a:pt x="1638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1" name="Google Shape;2121;p44"/>
            <p:cNvSpPr/>
            <p:nvPr/>
          </p:nvSpPr>
          <p:spPr>
            <a:xfrm>
              <a:off x="1880824" y="3828803"/>
              <a:ext cx="315436" cy="189063"/>
            </a:xfrm>
            <a:custGeom>
              <a:avLst/>
              <a:gdLst/>
              <a:ahLst/>
              <a:cxnLst/>
              <a:rect l="l" t="t" r="r" b="b"/>
              <a:pathLst>
                <a:path w="9842" h="5899" extrusionOk="0">
                  <a:moveTo>
                    <a:pt x="1" y="0"/>
                  </a:moveTo>
                  <a:lnTo>
                    <a:pt x="1" y="5898"/>
                  </a:lnTo>
                  <a:lnTo>
                    <a:pt x="9842" y="5898"/>
                  </a:lnTo>
                  <a:lnTo>
                    <a:pt x="984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2" name="Google Shape;2122;p44"/>
            <p:cNvSpPr/>
            <p:nvPr/>
          </p:nvSpPr>
          <p:spPr>
            <a:xfrm>
              <a:off x="2248726" y="3828803"/>
              <a:ext cx="63203" cy="189063"/>
            </a:xfrm>
            <a:custGeom>
              <a:avLst/>
              <a:gdLst/>
              <a:ahLst/>
              <a:cxnLst/>
              <a:rect l="l" t="t" r="r" b="b"/>
              <a:pathLst>
                <a:path w="1972" h="5899" extrusionOk="0">
                  <a:moveTo>
                    <a:pt x="0" y="0"/>
                  </a:moveTo>
                  <a:lnTo>
                    <a:pt x="0" y="5898"/>
                  </a:lnTo>
                  <a:lnTo>
                    <a:pt x="1972" y="5898"/>
                  </a:lnTo>
                  <a:lnTo>
                    <a:pt x="197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3" name="Google Shape;2123;p44"/>
            <p:cNvSpPr/>
            <p:nvPr/>
          </p:nvSpPr>
          <p:spPr>
            <a:xfrm>
              <a:off x="1923130" y="4196160"/>
              <a:ext cx="63235" cy="52498"/>
            </a:xfrm>
            <a:custGeom>
              <a:avLst/>
              <a:gdLst/>
              <a:ahLst/>
              <a:cxnLst/>
              <a:rect l="l" t="t" r="r" b="b"/>
              <a:pathLst>
                <a:path w="1973" h="1638" extrusionOk="0">
                  <a:moveTo>
                    <a:pt x="0" y="0"/>
                  </a:moveTo>
                  <a:lnTo>
                    <a:pt x="0" y="1638"/>
                  </a:lnTo>
                  <a:lnTo>
                    <a:pt x="986" y="986"/>
                  </a:lnTo>
                  <a:lnTo>
                    <a:pt x="1972" y="1638"/>
                  </a:lnTo>
                  <a:lnTo>
                    <a:pt x="1972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24" name="Google Shape;2124;p44"/>
          <p:cNvGrpSpPr/>
          <p:nvPr/>
        </p:nvGrpSpPr>
        <p:grpSpPr>
          <a:xfrm>
            <a:off x="1781675" y="1584779"/>
            <a:ext cx="497450" cy="620559"/>
            <a:chOff x="1881369" y="1406144"/>
            <a:chExt cx="515172" cy="642667"/>
          </a:xfrm>
        </p:grpSpPr>
        <p:sp>
          <p:nvSpPr>
            <p:cNvPr id="2125" name="Google Shape;2125;p44"/>
            <p:cNvSpPr/>
            <p:nvPr/>
          </p:nvSpPr>
          <p:spPr>
            <a:xfrm>
              <a:off x="1935438" y="1460789"/>
              <a:ext cx="413990" cy="544626"/>
            </a:xfrm>
            <a:custGeom>
              <a:avLst/>
              <a:gdLst/>
              <a:ahLst/>
              <a:cxnLst/>
              <a:rect l="l" t="t" r="r" b="b"/>
              <a:pathLst>
                <a:path w="12917" h="16993" extrusionOk="0">
                  <a:moveTo>
                    <a:pt x="1" y="0"/>
                  </a:moveTo>
                  <a:lnTo>
                    <a:pt x="1" y="16993"/>
                  </a:lnTo>
                  <a:lnTo>
                    <a:pt x="12917" y="16993"/>
                  </a:lnTo>
                  <a:lnTo>
                    <a:pt x="12917" y="5096"/>
                  </a:lnTo>
                  <a:lnTo>
                    <a:pt x="782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6" name="Google Shape;2126;p44"/>
            <p:cNvSpPr/>
            <p:nvPr/>
          </p:nvSpPr>
          <p:spPr>
            <a:xfrm>
              <a:off x="2040401" y="1696389"/>
              <a:ext cx="235664" cy="235664"/>
            </a:xfrm>
            <a:custGeom>
              <a:avLst/>
              <a:gdLst/>
              <a:ahLst/>
              <a:cxnLst/>
              <a:rect l="l" t="t" r="r" b="b"/>
              <a:pathLst>
                <a:path w="7353" h="7353" extrusionOk="0">
                  <a:moveTo>
                    <a:pt x="3677" y="1"/>
                  </a:moveTo>
                  <a:cubicBezTo>
                    <a:pt x="1655" y="1"/>
                    <a:pt x="1" y="1638"/>
                    <a:pt x="1" y="3677"/>
                  </a:cubicBezTo>
                  <a:cubicBezTo>
                    <a:pt x="1" y="5698"/>
                    <a:pt x="1655" y="7353"/>
                    <a:pt x="3677" y="7353"/>
                  </a:cubicBezTo>
                  <a:cubicBezTo>
                    <a:pt x="5715" y="7353"/>
                    <a:pt x="7352" y="5698"/>
                    <a:pt x="7352" y="3677"/>
                  </a:cubicBezTo>
                  <a:cubicBezTo>
                    <a:pt x="7352" y="1638"/>
                    <a:pt x="5715" y="1"/>
                    <a:pt x="367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7" name="Google Shape;2127;p44"/>
            <p:cNvSpPr/>
            <p:nvPr/>
          </p:nvSpPr>
          <p:spPr>
            <a:xfrm>
              <a:off x="1986333" y="1684979"/>
              <a:ext cx="300982" cy="257778"/>
            </a:xfrm>
            <a:custGeom>
              <a:avLst/>
              <a:gdLst/>
              <a:ahLst/>
              <a:cxnLst/>
              <a:rect l="l" t="t" r="r" b="b"/>
              <a:pathLst>
                <a:path w="9391" h="8043" extrusionOk="0">
                  <a:moveTo>
                    <a:pt x="5364" y="691"/>
                  </a:moveTo>
                  <a:cubicBezTo>
                    <a:pt x="7218" y="691"/>
                    <a:pt x="8705" y="2178"/>
                    <a:pt x="8705" y="4033"/>
                  </a:cubicBezTo>
                  <a:cubicBezTo>
                    <a:pt x="8705" y="6044"/>
                    <a:pt x="7062" y="7375"/>
                    <a:pt x="5347" y="7375"/>
                  </a:cubicBezTo>
                  <a:cubicBezTo>
                    <a:pt x="4527" y="7375"/>
                    <a:pt x="3689" y="7070"/>
                    <a:pt x="3008" y="6389"/>
                  </a:cubicBezTo>
                  <a:cubicBezTo>
                    <a:pt x="902" y="4283"/>
                    <a:pt x="2389" y="691"/>
                    <a:pt x="5364" y="691"/>
                  </a:cubicBezTo>
                  <a:close/>
                  <a:moveTo>
                    <a:pt x="5347" y="1"/>
                  </a:moveTo>
                  <a:cubicBezTo>
                    <a:pt x="4357" y="1"/>
                    <a:pt x="3346" y="369"/>
                    <a:pt x="2523" y="1192"/>
                  </a:cubicBezTo>
                  <a:cubicBezTo>
                    <a:pt x="0" y="3715"/>
                    <a:pt x="1788" y="8043"/>
                    <a:pt x="5364" y="8043"/>
                  </a:cubicBezTo>
                  <a:cubicBezTo>
                    <a:pt x="7586" y="8043"/>
                    <a:pt x="9390" y="6255"/>
                    <a:pt x="9390" y="4033"/>
                  </a:cubicBezTo>
                  <a:cubicBezTo>
                    <a:pt x="9390" y="1605"/>
                    <a:pt x="7413" y="1"/>
                    <a:pt x="534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8" name="Google Shape;2128;p44"/>
            <p:cNvSpPr/>
            <p:nvPr/>
          </p:nvSpPr>
          <p:spPr>
            <a:xfrm>
              <a:off x="2227926" y="1888176"/>
              <a:ext cx="168615" cy="160635"/>
            </a:xfrm>
            <a:custGeom>
              <a:avLst/>
              <a:gdLst/>
              <a:ahLst/>
              <a:cxnLst/>
              <a:rect l="l" t="t" r="r" b="b"/>
              <a:pathLst>
                <a:path w="5261" h="5012" extrusionOk="0">
                  <a:moveTo>
                    <a:pt x="484" y="0"/>
                  </a:moveTo>
                  <a:cubicBezTo>
                    <a:pt x="224" y="0"/>
                    <a:pt x="0" y="326"/>
                    <a:pt x="232" y="583"/>
                  </a:cubicBezTo>
                  <a:lnTo>
                    <a:pt x="4576" y="4911"/>
                  </a:lnTo>
                  <a:cubicBezTo>
                    <a:pt x="4643" y="4978"/>
                    <a:pt x="4726" y="5011"/>
                    <a:pt x="4810" y="5011"/>
                  </a:cubicBezTo>
                  <a:cubicBezTo>
                    <a:pt x="5110" y="5011"/>
                    <a:pt x="5261" y="4644"/>
                    <a:pt x="5060" y="4426"/>
                  </a:cubicBezTo>
                  <a:lnTo>
                    <a:pt x="716" y="99"/>
                  </a:lnTo>
                  <a:cubicBezTo>
                    <a:pt x="643" y="29"/>
                    <a:pt x="562" y="0"/>
                    <a:pt x="484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9" name="Google Shape;2129;p44"/>
            <p:cNvSpPr/>
            <p:nvPr/>
          </p:nvSpPr>
          <p:spPr>
            <a:xfrm>
              <a:off x="2080560" y="1765488"/>
              <a:ext cx="94291" cy="21986"/>
            </a:xfrm>
            <a:custGeom>
              <a:avLst/>
              <a:gdLst/>
              <a:ahLst/>
              <a:cxnLst/>
              <a:rect l="l" t="t" r="r" b="b"/>
              <a:pathLst>
                <a:path w="2942" h="686" extrusionOk="0">
                  <a:moveTo>
                    <a:pt x="452" y="0"/>
                  </a:moveTo>
                  <a:cubicBezTo>
                    <a:pt x="1" y="0"/>
                    <a:pt x="1" y="685"/>
                    <a:pt x="452" y="685"/>
                  </a:cubicBezTo>
                  <a:lnTo>
                    <a:pt x="2490" y="685"/>
                  </a:lnTo>
                  <a:cubicBezTo>
                    <a:pt x="2942" y="685"/>
                    <a:pt x="2942" y="0"/>
                    <a:pt x="249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0" name="Google Shape;2130;p44"/>
            <p:cNvSpPr/>
            <p:nvPr/>
          </p:nvSpPr>
          <p:spPr>
            <a:xfrm>
              <a:off x="2080560" y="1830806"/>
              <a:ext cx="159609" cy="21986"/>
            </a:xfrm>
            <a:custGeom>
              <a:avLst/>
              <a:gdLst/>
              <a:ahLst/>
              <a:cxnLst/>
              <a:rect l="l" t="t" r="r" b="b"/>
              <a:pathLst>
                <a:path w="4980" h="686" extrusionOk="0">
                  <a:moveTo>
                    <a:pt x="452" y="1"/>
                  </a:moveTo>
                  <a:cubicBezTo>
                    <a:pt x="1" y="1"/>
                    <a:pt x="1" y="686"/>
                    <a:pt x="452" y="686"/>
                  </a:cubicBezTo>
                  <a:lnTo>
                    <a:pt x="4529" y="686"/>
                  </a:lnTo>
                  <a:cubicBezTo>
                    <a:pt x="4980" y="686"/>
                    <a:pt x="4980" y="1"/>
                    <a:pt x="4529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1" name="Google Shape;2131;p44"/>
            <p:cNvSpPr/>
            <p:nvPr/>
          </p:nvSpPr>
          <p:spPr>
            <a:xfrm>
              <a:off x="1881369" y="1406144"/>
              <a:ext cx="413445" cy="544658"/>
            </a:xfrm>
            <a:custGeom>
              <a:avLst/>
              <a:gdLst/>
              <a:ahLst/>
              <a:cxnLst/>
              <a:rect l="l" t="t" r="r" b="b"/>
              <a:pathLst>
                <a:path w="12900" h="16994" extrusionOk="0">
                  <a:moveTo>
                    <a:pt x="0" y="1"/>
                  </a:moveTo>
                  <a:lnTo>
                    <a:pt x="0" y="16993"/>
                  </a:lnTo>
                  <a:lnTo>
                    <a:pt x="1688" y="16993"/>
                  </a:lnTo>
                  <a:lnTo>
                    <a:pt x="1688" y="1705"/>
                  </a:lnTo>
                  <a:lnTo>
                    <a:pt x="9507" y="1705"/>
                  </a:lnTo>
                  <a:lnTo>
                    <a:pt x="12899" y="5097"/>
                  </a:lnTo>
                  <a:lnTo>
                    <a:pt x="12899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2" name="Google Shape;2132;p44"/>
            <p:cNvSpPr/>
            <p:nvPr/>
          </p:nvSpPr>
          <p:spPr>
            <a:xfrm>
              <a:off x="2186069" y="1462359"/>
              <a:ext cx="161756" cy="161788"/>
            </a:xfrm>
            <a:custGeom>
              <a:avLst/>
              <a:gdLst/>
              <a:ahLst/>
              <a:cxnLst/>
              <a:rect l="l" t="t" r="r" b="b"/>
              <a:pathLst>
                <a:path w="5047" h="5048" extrusionOk="0">
                  <a:moveTo>
                    <a:pt x="41" y="1"/>
                  </a:moveTo>
                  <a:cubicBezTo>
                    <a:pt x="21" y="1"/>
                    <a:pt x="0" y="19"/>
                    <a:pt x="0" y="51"/>
                  </a:cubicBezTo>
                  <a:lnTo>
                    <a:pt x="0" y="5047"/>
                  </a:lnTo>
                  <a:lnTo>
                    <a:pt x="4996" y="5047"/>
                  </a:lnTo>
                  <a:cubicBezTo>
                    <a:pt x="5030" y="5047"/>
                    <a:pt x="5046" y="4997"/>
                    <a:pt x="5030" y="4980"/>
                  </a:cubicBezTo>
                  <a:lnTo>
                    <a:pt x="67" y="18"/>
                  </a:lnTo>
                  <a:cubicBezTo>
                    <a:pt x="61" y="6"/>
                    <a:pt x="51" y="1"/>
                    <a:pt x="4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133" name="Google Shape;2133;p44"/>
          <p:cNvSpPr txBox="1">
            <a:spLocks noGrp="1"/>
          </p:cNvSpPr>
          <p:nvPr>
            <p:ph type="subTitle" idx="1"/>
          </p:nvPr>
        </p:nvSpPr>
        <p:spPr>
          <a:xfrm>
            <a:off x="2481875" y="1533123"/>
            <a:ext cx="20934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Análisis exploratorio</a:t>
            </a:r>
            <a:endParaRPr dirty="0"/>
          </a:p>
        </p:txBody>
      </p:sp>
      <p:sp>
        <p:nvSpPr>
          <p:cNvPr id="2134" name="Google Shape;2134;p44"/>
          <p:cNvSpPr txBox="1">
            <a:spLocks noGrp="1"/>
          </p:cNvSpPr>
          <p:nvPr>
            <p:ph type="subTitle" idx="2"/>
          </p:nvPr>
        </p:nvSpPr>
        <p:spPr>
          <a:xfrm>
            <a:off x="2481875" y="1962106"/>
            <a:ext cx="20934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CO" dirty="0" err="1"/>
              <a:t>Outliers</a:t>
            </a:r>
            <a:r>
              <a:rPr lang="es-CO" dirty="0"/>
              <a:t>, tendencia en las ventas, cambio de precio, impacto </a:t>
            </a:r>
            <a:r>
              <a:rPr lang="es-CO" dirty="0" err="1"/>
              <a:t>Covid</a:t>
            </a:r>
            <a:endParaRPr dirty="0"/>
          </a:p>
        </p:txBody>
      </p:sp>
      <p:sp>
        <p:nvSpPr>
          <p:cNvPr id="2135" name="Google Shape;2135;p44"/>
          <p:cNvSpPr txBox="1">
            <a:spLocks noGrp="1"/>
          </p:cNvSpPr>
          <p:nvPr>
            <p:ph type="title"/>
          </p:nvPr>
        </p:nvSpPr>
        <p:spPr>
          <a:xfrm>
            <a:off x="720000" y="1706550"/>
            <a:ext cx="758700" cy="45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1</a:t>
            </a:r>
            <a:endParaRPr/>
          </a:p>
        </p:txBody>
      </p:sp>
      <p:sp>
        <p:nvSpPr>
          <p:cNvPr id="2136" name="Google Shape;2136;p44"/>
          <p:cNvSpPr txBox="1">
            <a:spLocks noGrp="1"/>
          </p:cNvSpPr>
          <p:nvPr>
            <p:ph type="subTitle" idx="4"/>
          </p:nvPr>
        </p:nvSpPr>
        <p:spPr>
          <a:xfrm>
            <a:off x="2478625" y="2563930"/>
            <a:ext cx="20934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eprocesamiento</a:t>
            </a:r>
            <a:endParaRPr dirty="0"/>
          </a:p>
        </p:txBody>
      </p:sp>
      <p:sp>
        <p:nvSpPr>
          <p:cNvPr id="2137" name="Google Shape;2137;p44"/>
          <p:cNvSpPr txBox="1">
            <a:spLocks noGrp="1"/>
          </p:cNvSpPr>
          <p:nvPr>
            <p:ph type="subTitle" idx="5"/>
          </p:nvPr>
        </p:nvSpPr>
        <p:spPr>
          <a:xfrm>
            <a:off x="2478625" y="3182801"/>
            <a:ext cx="20934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CO" dirty="0"/>
              <a:t>Data en formato requerido: foto de clientes por mes según total, marcas, segmento..</a:t>
            </a:r>
            <a:endParaRPr dirty="0"/>
          </a:p>
        </p:txBody>
      </p:sp>
      <p:sp>
        <p:nvSpPr>
          <p:cNvPr id="2138" name="Google Shape;2138;p44"/>
          <p:cNvSpPr txBox="1">
            <a:spLocks noGrp="1"/>
          </p:cNvSpPr>
          <p:nvPr>
            <p:ph type="title" idx="6"/>
          </p:nvPr>
        </p:nvSpPr>
        <p:spPr>
          <a:xfrm>
            <a:off x="720000" y="2729475"/>
            <a:ext cx="758700" cy="503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2</a:t>
            </a:r>
            <a:endParaRPr/>
          </a:p>
        </p:txBody>
      </p:sp>
      <p:sp>
        <p:nvSpPr>
          <p:cNvPr id="2139" name="Google Shape;2139;p44"/>
          <p:cNvSpPr txBox="1">
            <a:spLocks noGrp="1"/>
          </p:cNvSpPr>
          <p:nvPr>
            <p:ph type="subTitle" idx="7"/>
          </p:nvPr>
        </p:nvSpPr>
        <p:spPr>
          <a:xfrm>
            <a:off x="2478625" y="3584797"/>
            <a:ext cx="20934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amiento</a:t>
            </a:r>
            <a:endParaRPr dirty="0"/>
          </a:p>
        </p:txBody>
      </p:sp>
      <p:sp>
        <p:nvSpPr>
          <p:cNvPr id="2140" name="Google Shape;2140;p44"/>
          <p:cNvSpPr txBox="1">
            <a:spLocks noGrp="1"/>
          </p:cNvSpPr>
          <p:nvPr>
            <p:ph type="subTitle" idx="8"/>
          </p:nvPr>
        </p:nvSpPr>
        <p:spPr>
          <a:xfrm>
            <a:off x="2478625" y="4153703"/>
            <a:ext cx="20934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CO" dirty="0"/>
              <a:t>Un modelo por marca para tener como output las probabilidades independientes</a:t>
            </a:r>
            <a:endParaRPr dirty="0"/>
          </a:p>
        </p:txBody>
      </p:sp>
      <p:sp>
        <p:nvSpPr>
          <p:cNvPr id="2141" name="Google Shape;2141;p44"/>
          <p:cNvSpPr txBox="1">
            <a:spLocks noGrp="1"/>
          </p:cNvSpPr>
          <p:nvPr>
            <p:ph type="title" idx="9"/>
          </p:nvPr>
        </p:nvSpPr>
        <p:spPr>
          <a:xfrm>
            <a:off x="720000" y="3752700"/>
            <a:ext cx="758700" cy="503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3</a:t>
            </a:r>
            <a:endParaRPr/>
          </a:p>
        </p:txBody>
      </p:sp>
      <p:grpSp>
        <p:nvGrpSpPr>
          <p:cNvPr id="2142" name="Google Shape;2142;p44"/>
          <p:cNvGrpSpPr/>
          <p:nvPr/>
        </p:nvGrpSpPr>
        <p:grpSpPr>
          <a:xfrm>
            <a:off x="1781678" y="2627059"/>
            <a:ext cx="497448" cy="606226"/>
            <a:chOff x="1847621" y="2498055"/>
            <a:chExt cx="497448" cy="606226"/>
          </a:xfrm>
        </p:grpSpPr>
        <p:sp>
          <p:nvSpPr>
            <p:cNvPr id="2143" name="Google Shape;2143;p44"/>
            <p:cNvSpPr/>
            <p:nvPr/>
          </p:nvSpPr>
          <p:spPr>
            <a:xfrm>
              <a:off x="2043094" y="2498055"/>
              <a:ext cx="92144" cy="51440"/>
            </a:xfrm>
            <a:custGeom>
              <a:avLst/>
              <a:gdLst/>
              <a:ahLst/>
              <a:cxnLst/>
              <a:rect l="l" t="t" r="r" b="b"/>
              <a:pathLst>
                <a:path w="2875" h="1605" extrusionOk="0">
                  <a:moveTo>
                    <a:pt x="0" y="1"/>
                  </a:moveTo>
                  <a:lnTo>
                    <a:pt x="0" y="1605"/>
                  </a:lnTo>
                  <a:lnTo>
                    <a:pt x="2874" y="1605"/>
                  </a:lnTo>
                  <a:lnTo>
                    <a:pt x="287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4" name="Google Shape;2144;p44"/>
            <p:cNvSpPr/>
            <p:nvPr/>
          </p:nvSpPr>
          <p:spPr>
            <a:xfrm>
              <a:off x="1847621" y="2518407"/>
              <a:ext cx="483058" cy="575714"/>
            </a:xfrm>
            <a:custGeom>
              <a:avLst/>
              <a:gdLst/>
              <a:ahLst/>
              <a:cxnLst/>
              <a:rect l="l" t="t" r="r" b="b"/>
              <a:pathLst>
                <a:path w="15072" h="17963" extrusionOk="0">
                  <a:moveTo>
                    <a:pt x="1" y="0"/>
                  </a:moveTo>
                  <a:lnTo>
                    <a:pt x="1" y="17962"/>
                  </a:lnTo>
                  <a:lnTo>
                    <a:pt x="15072" y="17962"/>
                  </a:lnTo>
                  <a:lnTo>
                    <a:pt x="15072" y="0"/>
                  </a:lnTo>
                  <a:lnTo>
                    <a:pt x="8973" y="0"/>
                  </a:lnTo>
                  <a:lnTo>
                    <a:pt x="8973" y="970"/>
                  </a:lnTo>
                  <a:lnTo>
                    <a:pt x="6099" y="970"/>
                  </a:lnTo>
                  <a:lnTo>
                    <a:pt x="6099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5" name="Google Shape;2145;p44"/>
            <p:cNvSpPr/>
            <p:nvPr/>
          </p:nvSpPr>
          <p:spPr>
            <a:xfrm>
              <a:off x="1878677" y="2549463"/>
              <a:ext cx="420945" cy="513601"/>
            </a:xfrm>
            <a:custGeom>
              <a:avLst/>
              <a:gdLst/>
              <a:ahLst/>
              <a:cxnLst/>
              <a:rect l="l" t="t" r="r" b="b"/>
              <a:pathLst>
                <a:path w="13134" h="16025" extrusionOk="0">
                  <a:moveTo>
                    <a:pt x="1" y="1"/>
                  </a:moveTo>
                  <a:lnTo>
                    <a:pt x="1" y="16024"/>
                  </a:lnTo>
                  <a:lnTo>
                    <a:pt x="13134" y="16024"/>
                  </a:lnTo>
                  <a:lnTo>
                    <a:pt x="13134" y="1"/>
                  </a:lnTo>
                  <a:lnTo>
                    <a:pt x="10243" y="1"/>
                  </a:lnTo>
                  <a:lnTo>
                    <a:pt x="10243" y="953"/>
                  </a:lnTo>
                  <a:lnTo>
                    <a:pt x="2875" y="953"/>
                  </a:lnTo>
                  <a:lnTo>
                    <a:pt x="2875" y="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6" name="Google Shape;2146;p44"/>
            <p:cNvSpPr/>
            <p:nvPr/>
          </p:nvSpPr>
          <p:spPr>
            <a:xfrm>
              <a:off x="1936527" y="2652280"/>
              <a:ext cx="119963" cy="20384"/>
            </a:xfrm>
            <a:custGeom>
              <a:avLst/>
              <a:gdLst/>
              <a:ahLst/>
              <a:cxnLst/>
              <a:rect l="l" t="t" r="r" b="b"/>
              <a:pathLst>
                <a:path w="3743" h="636" extrusionOk="0">
                  <a:moveTo>
                    <a:pt x="435" y="1"/>
                  </a:moveTo>
                  <a:cubicBezTo>
                    <a:pt x="0" y="1"/>
                    <a:pt x="0" y="636"/>
                    <a:pt x="435" y="636"/>
                  </a:cubicBezTo>
                  <a:lnTo>
                    <a:pt x="3325" y="636"/>
                  </a:lnTo>
                  <a:cubicBezTo>
                    <a:pt x="3743" y="636"/>
                    <a:pt x="3743" y="1"/>
                    <a:pt x="3325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7" name="Google Shape;2147;p44"/>
            <p:cNvSpPr/>
            <p:nvPr/>
          </p:nvSpPr>
          <p:spPr>
            <a:xfrm>
              <a:off x="1936527" y="2734200"/>
              <a:ext cx="78747" cy="20929"/>
            </a:xfrm>
            <a:custGeom>
              <a:avLst/>
              <a:gdLst/>
              <a:ahLst/>
              <a:cxnLst/>
              <a:rect l="l" t="t" r="r" b="b"/>
              <a:pathLst>
                <a:path w="2457" h="653" extrusionOk="0">
                  <a:moveTo>
                    <a:pt x="435" y="1"/>
                  </a:moveTo>
                  <a:cubicBezTo>
                    <a:pt x="0" y="1"/>
                    <a:pt x="0" y="653"/>
                    <a:pt x="435" y="653"/>
                  </a:cubicBezTo>
                  <a:lnTo>
                    <a:pt x="2039" y="653"/>
                  </a:lnTo>
                  <a:cubicBezTo>
                    <a:pt x="2456" y="653"/>
                    <a:pt x="2456" y="1"/>
                    <a:pt x="203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8" name="Google Shape;2148;p44"/>
            <p:cNvSpPr/>
            <p:nvPr/>
          </p:nvSpPr>
          <p:spPr>
            <a:xfrm>
              <a:off x="2090752" y="2734200"/>
              <a:ext cx="99099" cy="20929"/>
            </a:xfrm>
            <a:custGeom>
              <a:avLst/>
              <a:gdLst/>
              <a:ahLst/>
              <a:cxnLst/>
              <a:rect l="l" t="t" r="r" b="b"/>
              <a:pathLst>
                <a:path w="3092" h="653" extrusionOk="0">
                  <a:moveTo>
                    <a:pt x="435" y="1"/>
                  </a:moveTo>
                  <a:cubicBezTo>
                    <a:pt x="0" y="1"/>
                    <a:pt x="0" y="653"/>
                    <a:pt x="435" y="653"/>
                  </a:cubicBezTo>
                  <a:lnTo>
                    <a:pt x="2674" y="653"/>
                  </a:lnTo>
                  <a:cubicBezTo>
                    <a:pt x="3091" y="653"/>
                    <a:pt x="3091" y="1"/>
                    <a:pt x="2674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9" name="Google Shape;2149;p44"/>
            <p:cNvSpPr/>
            <p:nvPr/>
          </p:nvSpPr>
          <p:spPr>
            <a:xfrm>
              <a:off x="2042549" y="2734264"/>
              <a:ext cx="25095" cy="20865"/>
            </a:xfrm>
            <a:custGeom>
              <a:avLst/>
              <a:gdLst/>
              <a:ahLst/>
              <a:cxnLst/>
              <a:rect l="l" t="t" r="r" b="b"/>
              <a:pathLst>
                <a:path w="783" h="651" extrusionOk="0">
                  <a:moveTo>
                    <a:pt x="323" y="0"/>
                  </a:moveTo>
                  <a:cubicBezTo>
                    <a:pt x="249" y="0"/>
                    <a:pt x="171" y="29"/>
                    <a:pt x="101" y="99"/>
                  </a:cubicBezTo>
                  <a:cubicBezTo>
                    <a:pt x="34" y="149"/>
                    <a:pt x="0" y="233"/>
                    <a:pt x="17" y="316"/>
                  </a:cubicBezTo>
                  <a:cubicBezTo>
                    <a:pt x="0" y="500"/>
                    <a:pt x="151" y="651"/>
                    <a:pt x="335" y="651"/>
                  </a:cubicBezTo>
                  <a:cubicBezTo>
                    <a:pt x="418" y="651"/>
                    <a:pt x="502" y="617"/>
                    <a:pt x="552" y="550"/>
                  </a:cubicBezTo>
                  <a:cubicBezTo>
                    <a:pt x="783" y="320"/>
                    <a:pt x="571" y="0"/>
                    <a:pt x="323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0" name="Google Shape;2150;p44"/>
            <p:cNvSpPr/>
            <p:nvPr/>
          </p:nvSpPr>
          <p:spPr>
            <a:xfrm>
              <a:off x="2217670" y="2734616"/>
              <a:ext cx="21441" cy="20352"/>
            </a:xfrm>
            <a:custGeom>
              <a:avLst/>
              <a:gdLst/>
              <a:ahLst/>
              <a:cxnLst/>
              <a:rect l="l" t="t" r="r" b="b"/>
              <a:pathLst>
                <a:path w="669" h="635" extrusionOk="0">
                  <a:moveTo>
                    <a:pt x="316" y="1"/>
                  </a:moveTo>
                  <a:cubicBezTo>
                    <a:pt x="234" y="1"/>
                    <a:pt x="151" y="30"/>
                    <a:pt x="84" y="88"/>
                  </a:cubicBezTo>
                  <a:cubicBezTo>
                    <a:pt x="34" y="138"/>
                    <a:pt x="0" y="222"/>
                    <a:pt x="0" y="305"/>
                  </a:cubicBezTo>
                  <a:cubicBezTo>
                    <a:pt x="0" y="508"/>
                    <a:pt x="152" y="635"/>
                    <a:pt x="312" y="635"/>
                  </a:cubicBezTo>
                  <a:cubicBezTo>
                    <a:pt x="390" y="635"/>
                    <a:pt x="469" y="605"/>
                    <a:pt x="535" y="539"/>
                  </a:cubicBezTo>
                  <a:cubicBezTo>
                    <a:pt x="669" y="422"/>
                    <a:pt x="669" y="205"/>
                    <a:pt x="535" y="88"/>
                  </a:cubicBezTo>
                  <a:cubicBezTo>
                    <a:pt x="476" y="30"/>
                    <a:pt x="397" y="1"/>
                    <a:pt x="31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1" name="Google Shape;2151;p44"/>
            <p:cNvSpPr/>
            <p:nvPr/>
          </p:nvSpPr>
          <p:spPr>
            <a:xfrm>
              <a:off x="1987936" y="2816696"/>
              <a:ext cx="99643" cy="20384"/>
            </a:xfrm>
            <a:custGeom>
              <a:avLst/>
              <a:gdLst/>
              <a:ahLst/>
              <a:cxnLst/>
              <a:rect l="l" t="t" r="r" b="b"/>
              <a:pathLst>
                <a:path w="3109" h="636" extrusionOk="0">
                  <a:moveTo>
                    <a:pt x="435" y="0"/>
                  </a:moveTo>
                  <a:cubicBezTo>
                    <a:pt x="0" y="0"/>
                    <a:pt x="0" y="635"/>
                    <a:pt x="435" y="635"/>
                  </a:cubicBezTo>
                  <a:lnTo>
                    <a:pt x="2674" y="635"/>
                  </a:lnTo>
                  <a:cubicBezTo>
                    <a:pt x="3108" y="635"/>
                    <a:pt x="3108" y="0"/>
                    <a:pt x="2674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2" name="Google Shape;2152;p44"/>
            <p:cNvSpPr/>
            <p:nvPr/>
          </p:nvSpPr>
          <p:spPr>
            <a:xfrm>
              <a:off x="1935886" y="2816408"/>
              <a:ext cx="29005" cy="20865"/>
            </a:xfrm>
            <a:custGeom>
              <a:avLst/>
              <a:gdLst/>
              <a:ahLst/>
              <a:cxnLst/>
              <a:rect l="l" t="t" r="r" b="b"/>
              <a:pathLst>
                <a:path w="905" h="651" extrusionOk="0">
                  <a:moveTo>
                    <a:pt x="439" y="1"/>
                  </a:moveTo>
                  <a:cubicBezTo>
                    <a:pt x="366" y="1"/>
                    <a:pt x="289" y="28"/>
                    <a:pt x="221" y="93"/>
                  </a:cubicBezTo>
                  <a:cubicBezTo>
                    <a:pt x="0" y="326"/>
                    <a:pt x="213" y="651"/>
                    <a:pt x="460" y="651"/>
                  </a:cubicBezTo>
                  <a:cubicBezTo>
                    <a:pt x="531" y="651"/>
                    <a:pt x="605" y="624"/>
                    <a:pt x="672" y="560"/>
                  </a:cubicBezTo>
                  <a:cubicBezTo>
                    <a:pt x="904" y="315"/>
                    <a:pt x="688" y="1"/>
                    <a:pt x="43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3" name="Google Shape;2153;p44"/>
            <p:cNvSpPr/>
            <p:nvPr/>
          </p:nvSpPr>
          <p:spPr>
            <a:xfrm>
              <a:off x="1914605" y="2909545"/>
              <a:ext cx="88714" cy="89516"/>
            </a:xfrm>
            <a:custGeom>
              <a:avLst/>
              <a:gdLst/>
              <a:ahLst/>
              <a:cxnLst/>
              <a:rect l="l" t="t" r="r" b="b"/>
              <a:pathLst>
                <a:path w="2768" h="2793" extrusionOk="0">
                  <a:moveTo>
                    <a:pt x="2282" y="1"/>
                  </a:moveTo>
                  <a:cubicBezTo>
                    <a:pt x="2231" y="1"/>
                    <a:pt x="2176" y="14"/>
                    <a:pt x="2121" y="44"/>
                  </a:cubicBezTo>
                  <a:cubicBezTo>
                    <a:pt x="1419" y="395"/>
                    <a:pt x="1185" y="1096"/>
                    <a:pt x="1102" y="1832"/>
                  </a:cubicBezTo>
                  <a:cubicBezTo>
                    <a:pt x="968" y="1715"/>
                    <a:pt x="835" y="1598"/>
                    <a:pt x="701" y="1497"/>
                  </a:cubicBezTo>
                  <a:cubicBezTo>
                    <a:pt x="633" y="1440"/>
                    <a:pt x="558" y="1416"/>
                    <a:pt x="486" y="1416"/>
                  </a:cubicBezTo>
                  <a:cubicBezTo>
                    <a:pt x="225" y="1416"/>
                    <a:pt x="1" y="1739"/>
                    <a:pt x="250" y="1949"/>
                  </a:cubicBezTo>
                  <a:lnTo>
                    <a:pt x="1152" y="2700"/>
                  </a:lnTo>
                  <a:cubicBezTo>
                    <a:pt x="1216" y="2764"/>
                    <a:pt x="1292" y="2792"/>
                    <a:pt x="1368" y="2792"/>
                  </a:cubicBezTo>
                  <a:cubicBezTo>
                    <a:pt x="1532" y="2792"/>
                    <a:pt x="1692" y="2661"/>
                    <a:pt x="1703" y="2467"/>
                  </a:cubicBezTo>
                  <a:cubicBezTo>
                    <a:pt x="1720" y="1781"/>
                    <a:pt x="1754" y="946"/>
                    <a:pt x="2455" y="595"/>
                  </a:cubicBezTo>
                  <a:cubicBezTo>
                    <a:pt x="2768" y="425"/>
                    <a:pt x="2573" y="1"/>
                    <a:pt x="228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4" name="Google Shape;2154;p44"/>
            <p:cNvSpPr/>
            <p:nvPr/>
          </p:nvSpPr>
          <p:spPr>
            <a:xfrm>
              <a:off x="1988705" y="2947492"/>
              <a:ext cx="94163" cy="35672"/>
            </a:xfrm>
            <a:custGeom>
              <a:avLst/>
              <a:gdLst/>
              <a:ahLst/>
              <a:cxnLst/>
              <a:rect l="l" t="t" r="r" b="b"/>
              <a:pathLst>
                <a:path w="2938" h="1113" extrusionOk="0">
                  <a:moveTo>
                    <a:pt x="432" y="0"/>
                  </a:moveTo>
                  <a:cubicBezTo>
                    <a:pt x="221" y="0"/>
                    <a:pt x="0" y="233"/>
                    <a:pt x="127" y="497"/>
                  </a:cubicBezTo>
                  <a:cubicBezTo>
                    <a:pt x="314" y="884"/>
                    <a:pt x="707" y="1113"/>
                    <a:pt x="1116" y="1113"/>
                  </a:cubicBezTo>
                  <a:cubicBezTo>
                    <a:pt x="1255" y="1113"/>
                    <a:pt x="1395" y="1087"/>
                    <a:pt x="1530" y="1032"/>
                  </a:cubicBezTo>
                  <a:cubicBezTo>
                    <a:pt x="1624" y="992"/>
                    <a:pt x="1965" y="747"/>
                    <a:pt x="2148" y="747"/>
                  </a:cubicBezTo>
                  <a:cubicBezTo>
                    <a:pt x="2193" y="747"/>
                    <a:pt x="2229" y="762"/>
                    <a:pt x="2249" y="798"/>
                  </a:cubicBezTo>
                  <a:cubicBezTo>
                    <a:pt x="2312" y="913"/>
                    <a:pt x="2409" y="961"/>
                    <a:pt x="2507" y="961"/>
                  </a:cubicBezTo>
                  <a:cubicBezTo>
                    <a:pt x="2721" y="961"/>
                    <a:pt x="2938" y="733"/>
                    <a:pt x="2800" y="481"/>
                  </a:cubicBezTo>
                  <a:cubicBezTo>
                    <a:pt x="2668" y="243"/>
                    <a:pt x="2420" y="99"/>
                    <a:pt x="2157" y="99"/>
                  </a:cubicBezTo>
                  <a:cubicBezTo>
                    <a:pt x="2088" y="99"/>
                    <a:pt x="2018" y="109"/>
                    <a:pt x="1948" y="130"/>
                  </a:cubicBezTo>
                  <a:cubicBezTo>
                    <a:pt x="1669" y="216"/>
                    <a:pt x="1355" y="460"/>
                    <a:pt x="1083" y="460"/>
                  </a:cubicBezTo>
                  <a:cubicBezTo>
                    <a:pt x="931" y="460"/>
                    <a:pt x="792" y="384"/>
                    <a:pt x="678" y="163"/>
                  </a:cubicBezTo>
                  <a:cubicBezTo>
                    <a:pt x="621" y="48"/>
                    <a:pt x="527" y="0"/>
                    <a:pt x="43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5" name="Google Shape;2155;p44"/>
            <p:cNvSpPr/>
            <p:nvPr/>
          </p:nvSpPr>
          <p:spPr>
            <a:xfrm>
              <a:off x="2111104" y="2877784"/>
              <a:ext cx="233965" cy="226497"/>
            </a:xfrm>
            <a:custGeom>
              <a:avLst/>
              <a:gdLst/>
              <a:ahLst/>
              <a:cxnLst/>
              <a:rect l="l" t="t" r="r" b="b"/>
              <a:pathLst>
                <a:path w="7300" h="7067" extrusionOk="0">
                  <a:moveTo>
                    <a:pt x="6839" y="0"/>
                  </a:moveTo>
                  <a:cubicBezTo>
                    <a:pt x="6764" y="0"/>
                    <a:pt x="6686" y="29"/>
                    <a:pt x="6617" y="99"/>
                  </a:cubicBezTo>
                  <a:lnTo>
                    <a:pt x="201" y="6515"/>
                  </a:lnTo>
                  <a:cubicBezTo>
                    <a:pt x="0" y="6716"/>
                    <a:pt x="151" y="7067"/>
                    <a:pt x="435" y="7067"/>
                  </a:cubicBezTo>
                  <a:cubicBezTo>
                    <a:pt x="518" y="7067"/>
                    <a:pt x="602" y="7033"/>
                    <a:pt x="669" y="6966"/>
                  </a:cubicBezTo>
                  <a:lnTo>
                    <a:pt x="7068" y="567"/>
                  </a:lnTo>
                  <a:cubicBezTo>
                    <a:pt x="7299" y="323"/>
                    <a:pt x="7086" y="0"/>
                    <a:pt x="683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6" name="Google Shape;2156;p44"/>
            <p:cNvSpPr/>
            <p:nvPr/>
          </p:nvSpPr>
          <p:spPr>
            <a:xfrm>
              <a:off x="1970789" y="2518407"/>
              <a:ext cx="236208" cy="61600"/>
            </a:xfrm>
            <a:custGeom>
              <a:avLst/>
              <a:gdLst/>
              <a:ahLst/>
              <a:cxnLst/>
              <a:rect l="l" t="t" r="r" b="b"/>
              <a:pathLst>
                <a:path w="7370" h="1922" extrusionOk="0">
                  <a:moveTo>
                    <a:pt x="1" y="0"/>
                  </a:moveTo>
                  <a:lnTo>
                    <a:pt x="1" y="1922"/>
                  </a:lnTo>
                  <a:lnTo>
                    <a:pt x="7369" y="1922"/>
                  </a:lnTo>
                  <a:lnTo>
                    <a:pt x="7369" y="0"/>
                  </a:lnTo>
                  <a:lnTo>
                    <a:pt x="5130" y="0"/>
                  </a:lnTo>
                  <a:lnTo>
                    <a:pt x="5130" y="970"/>
                  </a:lnTo>
                  <a:lnTo>
                    <a:pt x="2256" y="970"/>
                  </a:lnTo>
                  <a:lnTo>
                    <a:pt x="2256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57" name="Google Shape;2157;p44"/>
          <p:cNvGrpSpPr/>
          <p:nvPr/>
        </p:nvGrpSpPr>
        <p:grpSpPr>
          <a:xfrm>
            <a:off x="5032915" y="1966233"/>
            <a:ext cx="2992444" cy="2707392"/>
            <a:chOff x="5032915" y="1966233"/>
            <a:chExt cx="2992444" cy="2707392"/>
          </a:xfrm>
        </p:grpSpPr>
        <p:sp>
          <p:nvSpPr>
            <p:cNvPr id="2158" name="Google Shape;2158;p44"/>
            <p:cNvSpPr/>
            <p:nvPr/>
          </p:nvSpPr>
          <p:spPr>
            <a:xfrm>
              <a:off x="6970915" y="3772346"/>
              <a:ext cx="235119" cy="901278"/>
            </a:xfrm>
            <a:custGeom>
              <a:avLst/>
              <a:gdLst/>
              <a:ahLst/>
              <a:cxnLst/>
              <a:rect l="l" t="t" r="r" b="b"/>
              <a:pathLst>
                <a:path w="7336" h="28121" extrusionOk="0">
                  <a:moveTo>
                    <a:pt x="0" y="0"/>
                  </a:moveTo>
                  <a:lnTo>
                    <a:pt x="5965" y="28121"/>
                  </a:lnTo>
                  <a:lnTo>
                    <a:pt x="7336" y="28121"/>
                  </a:lnTo>
                  <a:lnTo>
                    <a:pt x="237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2159" name="Google Shape;2159;p44"/>
            <p:cNvGrpSpPr/>
            <p:nvPr/>
          </p:nvGrpSpPr>
          <p:grpSpPr>
            <a:xfrm>
              <a:off x="5032915" y="1966233"/>
              <a:ext cx="2992444" cy="2707392"/>
              <a:chOff x="5326840" y="1961634"/>
              <a:chExt cx="2992444" cy="2707392"/>
            </a:xfrm>
          </p:grpSpPr>
          <p:sp>
            <p:nvSpPr>
              <p:cNvPr id="2160" name="Google Shape;2160;p44"/>
              <p:cNvSpPr/>
              <p:nvPr/>
            </p:nvSpPr>
            <p:spPr>
              <a:xfrm>
                <a:off x="6182704" y="4001777"/>
                <a:ext cx="338865" cy="205665"/>
              </a:xfrm>
              <a:custGeom>
                <a:avLst/>
                <a:gdLst/>
                <a:ahLst/>
                <a:cxnLst/>
                <a:rect l="l" t="t" r="r" b="b"/>
                <a:pathLst>
                  <a:path w="10573" h="6417" extrusionOk="0">
                    <a:moveTo>
                      <a:pt x="5460" y="0"/>
                    </a:moveTo>
                    <a:lnTo>
                      <a:pt x="4157" y="2724"/>
                    </a:lnTo>
                    <a:cubicBezTo>
                      <a:pt x="4157" y="2724"/>
                      <a:pt x="1619" y="2151"/>
                      <a:pt x="575" y="2151"/>
                    </a:cubicBezTo>
                    <a:cubicBezTo>
                      <a:pt x="181" y="2151"/>
                      <a:pt x="0" y="2232"/>
                      <a:pt x="247" y="2456"/>
                    </a:cubicBezTo>
                    <a:cubicBezTo>
                      <a:pt x="1049" y="3191"/>
                      <a:pt x="6931" y="5698"/>
                      <a:pt x="8384" y="6299"/>
                    </a:cubicBezTo>
                    <a:lnTo>
                      <a:pt x="8702" y="6416"/>
                    </a:lnTo>
                    <a:lnTo>
                      <a:pt x="10573" y="2423"/>
                    </a:lnTo>
                    <a:lnTo>
                      <a:pt x="5460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61" name="Google Shape;2161;p44"/>
              <p:cNvSpPr/>
              <p:nvPr/>
            </p:nvSpPr>
            <p:spPr>
              <a:xfrm>
                <a:off x="6402663" y="4151515"/>
                <a:ext cx="81439" cy="53780"/>
              </a:xfrm>
              <a:custGeom>
                <a:avLst/>
                <a:gdLst/>
                <a:ahLst/>
                <a:cxnLst/>
                <a:rect l="l" t="t" r="r" b="b"/>
                <a:pathLst>
                  <a:path w="2541" h="1678" extrusionOk="0">
                    <a:moveTo>
                      <a:pt x="1626" y="0"/>
                    </a:moveTo>
                    <a:cubicBezTo>
                      <a:pt x="1474" y="0"/>
                      <a:pt x="1321" y="19"/>
                      <a:pt x="1170" y="57"/>
                    </a:cubicBezTo>
                    <a:cubicBezTo>
                      <a:pt x="702" y="157"/>
                      <a:pt x="285" y="441"/>
                      <a:pt x="1" y="825"/>
                    </a:cubicBezTo>
                    <a:lnTo>
                      <a:pt x="1872" y="1677"/>
                    </a:lnTo>
                    <a:lnTo>
                      <a:pt x="2540" y="240"/>
                    </a:lnTo>
                    <a:cubicBezTo>
                      <a:pt x="2258" y="82"/>
                      <a:pt x="1944" y="0"/>
                      <a:pt x="162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62" name="Google Shape;2162;p44"/>
              <p:cNvSpPr/>
              <p:nvPr/>
            </p:nvSpPr>
            <p:spPr>
              <a:xfrm>
                <a:off x="6185332" y="4070973"/>
                <a:ext cx="277874" cy="136469"/>
              </a:xfrm>
              <a:custGeom>
                <a:avLst/>
                <a:gdLst/>
                <a:ahLst/>
                <a:cxnLst/>
                <a:rect l="l" t="t" r="r" b="b"/>
                <a:pathLst>
                  <a:path w="8670" h="4258" extrusionOk="0">
                    <a:moveTo>
                      <a:pt x="507" y="1"/>
                    </a:moveTo>
                    <a:cubicBezTo>
                      <a:pt x="219" y="1"/>
                      <a:pt x="0" y="40"/>
                      <a:pt x="31" y="164"/>
                    </a:cubicBezTo>
                    <a:cubicBezTo>
                      <a:pt x="98" y="514"/>
                      <a:pt x="5930" y="3271"/>
                      <a:pt x="8620" y="4257"/>
                    </a:cubicBezTo>
                    <a:lnTo>
                      <a:pt x="8670" y="4140"/>
                    </a:lnTo>
                    <a:lnTo>
                      <a:pt x="1819" y="982"/>
                    </a:lnTo>
                    <a:cubicBezTo>
                      <a:pt x="1819" y="982"/>
                      <a:pt x="1970" y="264"/>
                      <a:pt x="1686" y="113"/>
                    </a:cubicBezTo>
                    <a:cubicBezTo>
                      <a:pt x="1686" y="113"/>
                      <a:pt x="997" y="1"/>
                      <a:pt x="507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63" name="Google Shape;2163;p44"/>
              <p:cNvSpPr/>
              <p:nvPr/>
            </p:nvSpPr>
            <p:spPr>
              <a:xfrm>
                <a:off x="6187383" y="4073537"/>
                <a:ext cx="278514" cy="131213"/>
              </a:xfrm>
              <a:custGeom>
                <a:avLst/>
                <a:gdLst/>
                <a:ahLst/>
                <a:cxnLst/>
                <a:rect l="l" t="t" r="r" b="b"/>
                <a:pathLst>
                  <a:path w="8690" h="4094" extrusionOk="0">
                    <a:moveTo>
                      <a:pt x="1" y="0"/>
                    </a:moveTo>
                    <a:cubicBezTo>
                      <a:pt x="18" y="17"/>
                      <a:pt x="51" y="33"/>
                      <a:pt x="84" y="50"/>
                    </a:cubicBezTo>
                    <a:cubicBezTo>
                      <a:pt x="151" y="84"/>
                      <a:pt x="235" y="134"/>
                      <a:pt x="335" y="184"/>
                    </a:cubicBezTo>
                    <a:lnTo>
                      <a:pt x="1237" y="668"/>
                    </a:lnTo>
                    <a:cubicBezTo>
                      <a:pt x="2006" y="1069"/>
                      <a:pt x="3092" y="1604"/>
                      <a:pt x="4295" y="2172"/>
                    </a:cubicBezTo>
                    <a:cubicBezTo>
                      <a:pt x="5481" y="2740"/>
                      <a:pt x="6584" y="3225"/>
                      <a:pt x="7386" y="3559"/>
                    </a:cubicBezTo>
                    <a:lnTo>
                      <a:pt x="8338" y="3960"/>
                    </a:lnTo>
                    <a:lnTo>
                      <a:pt x="8589" y="4077"/>
                    </a:lnTo>
                    <a:cubicBezTo>
                      <a:pt x="8622" y="4077"/>
                      <a:pt x="8656" y="4094"/>
                      <a:pt x="8689" y="4094"/>
                    </a:cubicBezTo>
                    <a:cubicBezTo>
                      <a:pt x="8656" y="4077"/>
                      <a:pt x="8622" y="4060"/>
                      <a:pt x="8606" y="4060"/>
                    </a:cubicBezTo>
                    <a:lnTo>
                      <a:pt x="8338" y="3943"/>
                    </a:lnTo>
                    <a:cubicBezTo>
                      <a:pt x="8088" y="3826"/>
                      <a:pt x="7770" y="3693"/>
                      <a:pt x="7403" y="3526"/>
                    </a:cubicBezTo>
                    <a:cubicBezTo>
                      <a:pt x="6617" y="3158"/>
                      <a:pt x="5515" y="2673"/>
                      <a:pt x="4312" y="2105"/>
                    </a:cubicBezTo>
                    <a:cubicBezTo>
                      <a:pt x="3125" y="1537"/>
                      <a:pt x="2039" y="1003"/>
                      <a:pt x="1254" y="618"/>
                    </a:cubicBezTo>
                    <a:cubicBezTo>
                      <a:pt x="903" y="434"/>
                      <a:pt x="586" y="284"/>
                      <a:pt x="335" y="150"/>
                    </a:cubicBezTo>
                    <a:cubicBezTo>
                      <a:pt x="251" y="117"/>
                      <a:pt x="168" y="67"/>
                      <a:pt x="84" y="33"/>
                    </a:cubicBezTo>
                    <a:cubicBezTo>
                      <a:pt x="68" y="17"/>
                      <a:pt x="34" y="0"/>
                      <a:pt x="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64" name="Google Shape;2164;p44"/>
              <p:cNvSpPr/>
              <p:nvPr/>
            </p:nvSpPr>
            <p:spPr>
              <a:xfrm>
                <a:off x="6238791" y="4071903"/>
                <a:ext cx="9679" cy="33236"/>
              </a:xfrm>
              <a:custGeom>
                <a:avLst/>
                <a:gdLst/>
                <a:ahLst/>
                <a:cxnLst/>
                <a:rect l="l" t="t" r="r" b="b"/>
                <a:pathLst>
                  <a:path w="302" h="1037" extrusionOk="0">
                    <a:moveTo>
                      <a:pt x="1" y="1"/>
                    </a:moveTo>
                    <a:lnTo>
                      <a:pt x="1" y="1"/>
                    </a:lnTo>
                    <a:cubicBezTo>
                      <a:pt x="168" y="318"/>
                      <a:pt x="201" y="686"/>
                      <a:pt x="118" y="1037"/>
                    </a:cubicBezTo>
                    <a:cubicBezTo>
                      <a:pt x="302" y="703"/>
                      <a:pt x="252" y="285"/>
                      <a:pt x="1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65" name="Google Shape;2165;p44"/>
              <p:cNvSpPr/>
              <p:nvPr/>
            </p:nvSpPr>
            <p:spPr>
              <a:xfrm>
                <a:off x="6312698" y="4088504"/>
                <a:ext cx="6987" cy="14038"/>
              </a:xfrm>
              <a:custGeom>
                <a:avLst/>
                <a:gdLst/>
                <a:ahLst/>
                <a:cxnLst/>
                <a:rect l="l" t="t" r="r" b="b"/>
                <a:pathLst>
                  <a:path w="218" h="438" extrusionOk="0">
                    <a:moveTo>
                      <a:pt x="17" y="1"/>
                    </a:moveTo>
                    <a:cubicBezTo>
                      <a:pt x="1" y="1"/>
                      <a:pt x="34" y="118"/>
                      <a:pt x="84" y="235"/>
                    </a:cubicBezTo>
                    <a:cubicBezTo>
                      <a:pt x="131" y="343"/>
                      <a:pt x="177" y="437"/>
                      <a:pt x="197" y="437"/>
                    </a:cubicBezTo>
                    <a:cubicBezTo>
                      <a:pt x="199" y="437"/>
                      <a:pt x="200" y="436"/>
                      <a:pt x="201" y="435"/>
                    </a:cubicBezTo>
                    <a:cubicBezTo>
                      <a:pt x="218" y="435"/>
                      <a:pt x="201" y="335"/>
                      <a:pt x="151" y="201"/>
                    </a:cubicBezTo>
                    <a:cubicBezTo>
                      <a:pt x="101" y="84"/>
                      <a:pt x="34" y="1"/>
                      <a:pt x="1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66" name="Google Shape;2166;p44"/>
              <p:cNvSpPr/>
              <p:nvPr/>
            </p:nvSpPr>
            <p:spPr>
              <a:xfrm>
                <a:off x="6317538" y="4083152"/>
                <a:ext cx="17692" cy="8077"/>
              </a:xfrm>
              <a:custGeom>
                <a:avLst/>
                <a:gdLst/>
                <a:ahLst/>
                <a:cxnLst/>
                <a:rect l="l" t="t" r="r" b="b"/>
                <a:pathLst>
                  <a:path w="552" h="252" extrusionOk="0">
                    <a:moveTo>
                      <a:pt x="0" y="1"/>
                    </a:moveTo>
                    <a:cubicBezTo>
                      <a:pt x="0" y="17"/>
                      <a:pt x="117" y="84"/>
                      <a:pt x="267" y="151"/>
                    </a:cubicBezTo>
                    <a:cubicBezTo>
                      <a:pt x="351" y="201"/>
                      <a:pt x="451" y="235"/>
                      <a:pt x="551" y="251"/>
                    </a:cubicBezTo>
                    <a:cubicBezTo>
                      <a:pt x="551" y="235"/>
                      <a:pt x="434" y="168"/>
                      <a:pt x="284" y="84"/>
                    </a:cubicBezTo>
                    <a:cubicBezTo>
                      <a:pt x="201" y="34"/>
                      <a:pt x="100" y="17"/>
                      <a:pt x="0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67" name="Google Shape;2167;p44"/>
              <p:cNvSpPr/>
              <p:nvPr/>
            </p:nvSpPr>
            <p:spPr>
              <a:xfrm>
                <a:off x="6322890" y="4073537"/>
                <a:ext cx="20384" cy="8237"/>
              </a:xfrm>
              <a:custGeom>
                <a:avLst/>
                <a:gdLst/>
                <a:ahLst/>
                <a:cxnLst/>
                <a:rect l="l" t="t" r="r" b="b"/>
                <a:pathLst>
                  <a:path w="636" h="257" extrusionOk="0">
                    <a:moveTo>
                      <a:pt x="0" y="0"/>
                    </a:moveTo>
                    <a:lnTo>
                      <a:pt x="0" y="0"/>
                    </a:lnTo>
                    <a:cubicBezTo>
                      <a:pt x="84" y="100"/>
                      <a:pt x="184" y="167"/>
                      <a:pt x="284" y="201"/>
                    </a:cubicBezTo>
                    <a:cubicBezTo>
                      <a:pt x="372" y="238"/>
                      <a:pt x="460" y="257"/>
                      <a:pt x="547" y="257"/>
                    </a:cubicBezTo>
                    <a:cubicBezTo>
                      <a:pt x="577" y="257"/>
                      <a:pt x="606" y="255"/>
                      <a:pt x="635" y="251"/>
                    </a:cubicBezTo>
                    <a:cubicBezTo>
                      <a:pt x="418" y="167"/>
                      <a:pt x="217" y="84"/>
                      <a:pt x="0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68" name="Google Shape;2168;p44"/>
              <p:cNvSpPr/>
              <p:nvPr/>
            </p:nvSpPr>
            <p:spPr>
              <a:xfrm>
                <a:off x="6276835" y="4059595"/>
                <a:ext cx="27018" cy="28941"/>
              </a:xfrm>
              <a:custGeom>
                <a:avLst/>
                <a:gdLst/>
                <a:ahLst/>
                <a:cxnLst/>
                <a:rect l="l" t="t" r="r" b="b"/>
                <a:pathLst>
                  <a:path w="843" h="903" extrusionOk="0">
                    <a:moveTo>
                      <a:pt x="134" y="67"/>
                    </a:moveTo>
                    <a:cubicBezTo>
                      <a:pt x="284" y="67"/>
                      <a:pt x="435" y="134"/>
                      <a:pt x="535" y="235"/>
                    </a:cubicBezTo>
                    <a:cubicBezTo>
                      <a:pt x="635" y="318"/>
                      <a:pt x="702" y="435"/>
                      <a:pt x="735" y="552"/>
                    </a:cubicBezTo>
                    <a:cubicBezTo>
                      <a:pt x="757" y="628"/>
                      <a:pt x="765" y="705"/>
                      <a:pt x="763" y="781"/>
                    </a:cubicBezTo>
                    <a:lnTo>
                      <a:pt x="763" y="781"/>
                    </a:lnTo>
                    <a:cubicBezTo>
                      <a:pt x="708" y="750"/>
                      <a:pt x="628" y="703"/>
                      <a:pt x="535" y="636"/>
                    </a:cubicBezTo>
                    <a:cubicBezTo>
                      <a:pt x="435" y="569"/>
                      <a:pt x="334" y="485"/>
                      <a:pt x="251" y="385"/>
                    </a:cubicBezTo>
                    <a:cubicBezTo>
                      <a:pt x="184" y="335"/>
                      <a:pt x="134" y="285"/>
                      <a:pt x="100" y="218"/>
                    </a:cubicBezTo>
                    <a:cubicBezTo>
                      <a:pt x="50" y="168"/>
                      <a:pt x="67" y="84"/>
                      <a:pt x="134" y="67"/>
                    </a:cubicBezTo>
                    <a:close/>
                    <a:moveTo>
                      <a:pt x="117" y="1"/>
                    </a:moveTo>
                    <a:cubicBezTo>
                      <a:pt x="67" y="17"/>
                      <a:pt x="17" y="67"/>
                      <a:pt x="0" y="118"/>
                    </a:cubicBezTo>
                    <a:cubicBezTo>
                      <a:pt x="0" y="168"/>
                      <a:pt x="17" y="218"/>
                      <a:pt x="34" y="251"/>
                    </a:cubicBezTo>
                    <a:cubicBezTo>
                      <a:pt x="84" y="318"/>
                      <a:pt x="134" y="385"/>
                      <a:pt x="201" y="435"/>
                    </a:cubicBezTo>
                    <a:cubicBezTo>
                      <a:pt x="301" y="519"/>
                      <a:pt x="401" y="602"/>
                      <a:pt x="518" y="686"/>
                    </a:cubicBezTo>
                    <a:cubicBezTo>
                      <a:pt x="597" y="738"/>
                      <a:pt x="675" y="780"/>
                      <a:pt x="761" y="812"/>
                    </a:cubicBezTo>
                    <a:lnTo>
                      <a:pt x="761" y="812"/>
                    </a:lnTo>
                    <a:cubicBezTo>
                      <a:pt x="760" y="842"/>
                      <a:pt x="756" y="872"/>
                      <a:pt x="752" y="903"/>
                    </a:cubicBezTo>
                    <a:cubicBezTo>
                      <a:pt x="752" y="903"/>
                      <a:pt x="766" y="875"/>
                      <a:pt x="781" y="819"/>
                    </a:cubicBezTo>
                    <a:lnTo>
                      <a:pt x="781" y="819"/>
                    </a:lnTo>
                    <a:cubicBezTo>
                      <a:pt x="799" y="825"/>
                      <a:pt x="817" y="831"/>
                      <a:pt x="836" y="836"/>
                    </a:cubicBezTo>
                    <a:cubicBezTo>
                      <a:pt x="842" y="829"/>
                      <a:pt x="824" y="817"/>
                      <a:pt x="787" y="795"/>
                    </a:cubicBezTo>
                    <a:lnTo>
                      <a:pt x="787" y="795"/>
                    </a:lnTo>
                    <a:cubicBezTo>
                      <a:pt x="802" y="713"/>
                      <a:pt x="802" y="616"/>
                      <a:pt x="785" y="535"/>
                    </a:cubicBezTo>
                    <a:cubicBezTo>
                      <a:pt x="719" y="218"/>
                      <a:pt x="435" y="1"/>
                      <a:pt x="11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69" name="Google Shape;2169;p44"/>
              <p:cNvSpPr/>
              <p:nvPr/>
            </p:nvSpPr>
            <p:spPr>
              <a:xfrm>
                <a:off x="6300391" y="4069371"/>
                <a:ext cx="23044" cy="16506"/>
              </a:xfrm>
              <a:custGeom>
                <a:avLst/>
                <a:gdLst/>
                <a:ahLst/>
                <a:cxnLst/>
                <a:rect l="l" t="t" r="r" b="b"/>
                <a:pathLst>
                  <a:path w="719" h="515" extrusionOk="0">
                    <a:moveTo>
                      <a:pt x="492" y="1"/>
                    </a:moveTo>
                    <a:cubicBezTo>
                      <a:pt x="418" y="1"/>
                      <a:pt x="345" y="23"/>
                      <a:pt x="284" y="63"/>
                    </a:cubicBezTo>
                    <a:cubicBezTo>
                      <a:pt x="201" y="113"/>
                      <a:pt x="134" y="180"/>
                      <a:pt x="84" y="264"/>
                    </a:cubicBezTo>
                    <a:cubicBezTo>
                      <a:pt x="34" y="331"/>
                      <a:pt x="0" y="414"/>
                      <a:pt x="17" y="514"/>
                    </a:cubicBezTo>
                    <a:lnTo>
                      <a:pt x="17" y="498"/>
                    </a:lnTo>
                    <a:cubicBezTo>
                      <a:pt x="50" y="431"/>
                      <a:pt x="84" y="364"/>
                      <a:pt x="117" y="280"/>
                    </a:cubicBezTo>
                    <a:cubicBezTo>
                      <a:pt x="184" y="214"/>
                      <a:pt x="251" y="163"/>
                      <a:pt x="318" y="113"/>
                    </a:cubicBezTo>
                    <a:cubicBezTo>
                      <a:pt x="372" y="81"/>
                      <a:pt x="433" y="62"/>
                      <a:pt x="496" y="62"/>
                    </a:cubicBezTo>
                    <a:cubicBezTo>
                      <a:pt x="531" y="62"/>
                      <a:pt x="566" y="68"/>
                      <a:pt x="602" y="80"/>
                    </a:cubicBezTo>
                    <a:cubicBezTo>
                      <a:pt x="669" y="130"/>
                      <a:pt x="585" y="247"/>
                      <a:pt x="502" y="297"/>
                    </a:cubicBezTo>
                    <a:cubicBezTo>
                      <a:pt x="435" y="347"/>
                      <a:pt x="368" y="381"/>
                      <a:pt x="284" y="431"/>
                    </a:cubicBezTo>
                    <a:cubicBezTo>
                      <a:pt x="134" y="481"/>
                      <a:pt x="50" y="498"/>
                      <a:pt x="50" y="514"/>
                    </a:cubicBezTo>
                    <a:cubicBezTo>
                      <a:pt x="134" y="514"/>
                      <a:pt x="218" y="498"/>
                      <a:pt x="301" y="464"/>
                    </a:cubicBezTo>
                    <a:cubicBezTo>
                      <a:pt x="385" y="431"/>
                      <a:pt x="468" y="397"/>
                      <a:pt x="552" y="347"/>
                    </a:cubicBezTo>
                    <a:cubicBezTo>
                      <a:pt x="602" y="314"/>
                      <a:pt x="635" y="280"/>
                      <a:pt x="669" y="230"/>
                    </a:cubicBezTo>
                    <a:cubicBezTo>
                      <a:pt x="719" y="163"/>
                      <a:pt x="702" y="80"/>
                      <a:pt x="635" y="30"/>
                    </a:cubicBezTo>
                    <a:cubicBezTo>
                      <a:pt x="589" y="10"/>
                      <a:pt x="540" y="1"/>
                      <a:pt x="492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70" name="Google Shape;2170;p44"/>
              <p:cNvSpPr/>
              <p:nvPr/>
            </p:nvSpPr>
            <p:spPr>
              <a:xfrm>
                <a:off x="6403753" y="4148053"/>
                <a:ext cx="79804" cy="29390"/>
              </a:xfrm>
              <a:custGeom>
                <a:avLst/>
                <a:gdLst/>
                <a:ahLst/>
                <a:cxnLst/>
                <a:rect l="l" t="t" r="r" b="b"/>
                <a:pathLst>
                  <a:path w="2490" h="917" extrusionOk="0">
                    <a:moveTo>
                      <a:pt x="1496" y="0"/>
                    </a:moveTo>
                    <a:cubicBezTo>
                      <a:pt x="1021" y="0"/>
                      <a:pt x="559" y="194"/>
                      <a:pt x="234" y="566"/>
                    </a:cubicBezTo>
                    <a:cubicBezTo>
                      <a:pt x="150" y="632"/>
                      <a:pt x="100" y="716"/>
                      <a:pt x="34" y="816"/>
                    </a:cubicBezTo>
                    <a:cubicBezTo>
                      <a:pt x="17" y="850"/>
                      <a:pt x="0" y="883"/>
                      <a:pt x="0" y="916"/>
                    </a:cubicBezTo>
                    <a:cubicBezTo>
                      <a:pt x="0" y="916"/>
                      <a:pt x="84" y="783"/>
                      <a:pt x="267" y="599"/>
                    </a:cubicBezTo>
                    <a:cubicBezTo>
                      <a:pt x="599" y="256"/>
                      <a:pt x="1056" y="64"/>
                      <a:pt x="1526" y="64"/>
                    </a:cubicBezTo>
                    <a:cubicBezTo>
                      <a:pt x="1719" y="64"/>
                      <a:pt x="1915" y="96"/>
                      <a:pt x="2105" y="165"/>
                    </a:cubicBezTo>
                    <a:cubicBezTo>
                      <a:pt x="2356" y="248"/>
                      <a:pt x="2490" y="332"/>
                      <a:pt x="2490" y="332"/>
                    </a:cubicBezTo>
                    <a:cubicBezTo>
                      <a:pt x="2473" y="298"/>
                      <a:pt x="2440" y="265"/>
                      <a:pt x="2406" y="248"/>
                    </a:cubicBezTo>
                    <a:cubicBezTo>
                      <a:pt x="2323" y="198"/>
                      <a:pt x="2222" y="148"/>
                      <a:pt x="2122" y="114"/>
                    </a:cubicBezTo>
                    <a:cubicBezTo>
                      <a:pt x="1918" y="38"/>
                      <a:pt x="1706" y="0"/>
                      <a:pt x="1496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71" name="Google Shape;2171;p44"/>
              <p:cNvSpPr/>
              <p:nvPr/>
            </p:nvSpPr>
            <p:spPr>
              <a:xfrm>
                <a:off x="6468013" y="4082094"/>
                <a:ext cx="31089" cy="68042"/>
              </a:xfrm>
              <a:custGeom>
                <a:avLst/>
                <a:gdLst/>
                <a:ahLst/>
                <a:cxnLst/>
                <a:rect l="l" t="t" r="r" b="b"/>
                <a:pathLst>
                  <a:path w="970" h="2123" extrusionOk="0">
                    <a:moveTo>
                      <a:pt x="969" y="0"/>
                    </a:moveTo>
                    <a:lnTo>
                      <a:pt x="969" y="0"/>
                    </a:lnTo>
                    <a:cubicBezTo>
                      <a:pt x="602" y="685"/>
                      <a:pt x="284" y="1404"/>
                      <a:pt x="0" y="2122"/>
                    </a:cubicBezTo>
                    <a:cubicBezTo>
                      <a:pt x="368" y="1437"/>
                      <a:pt x="685" y="736"/>
                      <a:pt x="969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72" name="Google Shape;2172;p44"/>
              <p:cNvSpPr/>
              <p:nvPr/>
            </p:nvSpPr>
            <p:spPr>
              <a:xfrm>
                <a:off x="6341608" y="4130266"/>
                <a:ext cx="48235" cy="22018"/>
              </a:xfrm>
              <a:custGeom>
                <a:avLst/>
                <a:gdLst/>
                <a:ahLst/>
                <a:cxnLst/>
                <a:rect l="l" t="t" r="r" b="b"/>
                <a:pathLst>
                  <a:path w="1505" h="687" extrusionOk="0">
                    <a:moveTo>
                      <a:pt x="5" y="0"/>
                    </a:moveTo>
                    <a:cubicBezTo>
                      <a:pt x="3" y="0"/>
                      <a:pt x="2" y="0"/>
                      <a:pt x="1" y="1"/>
                    </a:cubicBezTo>
                    <a:cubicBezTo>
                      <a:pt x="452" y="319"/>
                      <a:pt x="970" y="552"/>
                      <a:pt x="1505" y="686"/>
                    </a:cubicBezTo>
                    <a:cubicBezTo>
                      <a:pt x="1505" y="669"/>
                      <a:pt x="1171" y="536"/>
                      <a:pt x="753" y="352"/>
                    </a:cubicBezTo>
                    <a:cubicBezTo>
                      <a:pt x="353" y="176"/>
                      <a:pt x="45" y="0"/>
                      <a:pt x="5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73" name="Google Shape;2173;p44"/>
              <p:cNvSpPr/>
              <p:nvPr/>
            </p:nvSpPr>
            <p:spPr>
              <a:xfrm>
                <a:off x="6412855" y="4167476"/>
                <a:ext cx="9134" cy="7371"/>
              </a:xfrm>
              <a:custGeom>
                <a:avLst/>
                <a:gdLst/>
                <a:ahLst/>
                <a:cxnLst/>
                <a:rect l="l" t="t" r="r" b="b"/>
                <a:pathLst>
                  <a:path w="285" h="230" extrusionOk="0">
                    <a:moveTo>
                      <a:pt x="259" y="1"/>
                    </a:moveTo>
                    <a:cubicBezTo>
                      <a:pt x="224" y="1"/>
                      <a:pt x="158" y="19"/>
                      <a:pt x="100" y="77"/>
                    </a:cubicBezTo>
                    <a:cubicBezTo>
                      <a:pt x="17" y="143"/>
                      <a:pt x="0" y="227"/>
                      <a:pt x="17" y="227"/>
                    </a:cubicBezTo>
                    <a:cubicBezTo>
                      <a:pt x="19" y="229"/>
                      <a:pt x="21" y="230"/>
                      <a:pt x="23" y="230"/>
                    </a:cubicBezTo>
                    <a:cubicBezTo>
                      <a:pt x="44" y="230"/>
                      <a:pt x="91" y="171"/>
                      <a:pt x="151" y="127"/>
                    </a:cubicBezTo>
                    <a:cubicBezTo>
                      <a:pt x="217" y="60"/>
                      <a:pt x="284" y="26"/>
                      <a:pt x="284" y="10"/>
                    </a:cubicBezTo>
                    <a:cubicBezTo>
                      <a:pt x="284" y="5"/>
                      <a:pt x="275" y="1"/>
                      <a:pt x="259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74" name="Google Shape;2174;p44"/>
              <p:cNvSpPr/>
              <p:nvPr/>
            </p:nvSpPr>
            <p:spPr>
              <a:xfrm>
                <a:off x="6431572" y="4157925"/>
                <a:ext cx="9679" cy="3814"/>
              </a:xfrm>
              <a:custGeom>
                <a:avLst/>
                <a:gdLst/>
                <a:ahLst/>
                <a:cxnLst/>
                <a:rect l="l" t="t" r="r" b="b"/>
                <a:pathLst>
                  <a:path w="302" h="119" extrusionOk="0">
                    <a:moveTo>
                      <a:pt x="275" y="0"/>
                    </a:moveTo>
                    <a:cubicBezTo>
                      <a:pt x="246" y="0"/>
                      <a:pt x="199" y="12"/>
                      <a:pt x="151" y="24"/>
                    </a:cubicBezTo>
                    <a:cubicBezTo>
                      <a:pt x="68" y="57"/>
                      <a:pt x="1" y="90"/>
                      <a:pt x="18" y="107"/>
                    </a:cubicBezTo>
                    <a:cubicBezTo>
                      <a:pt x="18" y="114"/>
                      <a:pt x="29" y="118"/>
                      <a:pt x="49" y="118"/>
                    </a:cubicBezTo>
                    <a:cubicBezTo>
                      <a:pt x="76" y="118"/>
                      <a:pt x="119" y="110"/>
                      <a:pt x="168" y="90"/>
                    </a:cubicBezTo>
                    <a:cubicBezTo>
                      <a:pt x="252" y="74"/>
                      <a:pt x="302" y="24"/>
                      <a:pt x="302" y="7"/>
                    </a:cubicBezTo>
                    <a:cubicBezTo>
                      <a:pt x="297" y="2"/>
                      <a:pt x="288" y="0"/>
                      <a:pt x="275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75" name="Google Shape;2175;p44"/>
              <p:cNvSpPr/>
              <p:nvPr/>
            </p:nvSpPr>
            <p:spPr>
              <a:xfrm>
                <a:off x="6450866" y="4156418"/>
                <a:ext cx="11282" cy="3493"/>
              </a:xfrm>
              <a:custGeom>
                <a:avLst/>
                <a:gdLst/>
                <a:ahLst/>
                <a:cxnLst/>
                <a:rect l="l" t="t" r="r" b="b"/>
                <a:pathLst>
                  <a:path w="352" h="109" extrusionOk="0">
                    <a:moveTo>
                      <a:pt x="138" y="0"/>
                    </a:moveTo>
                    <a:cubicBezTo>
                      <a:pt x="50" y="0"/>
                      <a:pt x="0" y="40"/>
                      <a:pt x="0" y="54"/>
                    </a:cubicBezTo>
                    <a:cubicBezTo>
                      <a:pt x="17" y="71"/>
                      <a:pt x="84" y="71"/>
                      <a:pt x="168" y="71"/>
                    </a:cubicBezTo>
                    <a:cubicBezTo>
                      <a:pt x="235" y="84"/>
                      <a:pt x="303" y="109"/>
                      <a:pt x="326" y="109"/>
                    </a:cubicBezTo>
                    <a:cubicBezTo>
                      <a:pt x="332" y="109"/>
                      <a:pt x="335" y="107"/>
                      <a:pt x="335" y="104"/>
                    </a:cubicBezTo>
                    <a:cubicBezTo>
                      <a:pt x="351" y="87"/>
                      <a:pt x="285" y="21"/>
                      <a:pt x="184" y="4"/>
                    </a:cubicBezTo>
                    <a:cubicBezTo>
                      <a:pt x="168" y="1"/>
                      <a:pt x="153" y="0"/>
                      <a:pt x="138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76" name="Google Shape;2176;p44"/>
              <p:cNvSpPr/>
              <p:nvPr/>
            </p:nvSpPr>
            <p:spPr>
              <a:xfrm>
                <a:off x="6469615" y="4160809"/>
                <a:ext cx="5929" cy="2179"/>
              </a:xfrm>
              <a:custGeom>
                <a:avLst/>
                <a:gdLst/>
                <a:ahLst/>
                <a:cxnLst/>
                <a:rect l="l" t="t" r="r" b="b"/>
                <a:pathLst>
                  <a:path w="185" h="68" extrusionOk="0">
                    <a:moveTo>
                      <a:pt x="101" y="0"/>
                    </a:moveTo>
                    <a:cubicBezTo>
                      <a:pt x="50" y="0"/>
                      <a:pt x="0" y="17"/>
                      <a:pt x="0" y="34"/>
                    </a:cubicBezTo>
                    <a:cubicBezTo>
                      <a:pt x="0" y="51"/>
                      <a:pt x="50" y="67"/>
                      <a:pt x="101" y="67"/>
                    </a:cubicBezTo>
                    <a:cubicBezTo>
                      <a:pt x="151" y="67"/>
                      <a:pt x="184" y="67"/>
                      <a:pt x="184" y="51"/>
                    </a:cubicBezTo>
                    <a:cubicBezTo>
                      <a:pt x="184" y="17"/>
                      <a:pt x="151" y="0"/>
                      <a:pt x="10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77" name="Google Shape;2177;p44"/>
              <p:cNvSpPr/>
              <p:nvPr/>
            </p:nvSpPr>
            <p:spPr>
              <a:xfrm>
                <a:off x="7783761" y="2885764"/>
                <a:ext cx="327231" cy="174256"/>
              </a:xfrm>
              <a:custGeom>
                <a:avLst/>
                <a:gdLst/>
                <a:ahLst/>
                <a:cxnLst/>
                <a:rect l="l" t="t" r="r" b="b"/>
                <a:pathLst>
                  <a:path w="10210" h="5437" extrusionOk="0">
                    <a:moveTo>
                      <a:pt x="8316" y="1249"/>
                    </a:moveTo>
                    <a:cubicBezTo>
                      <a:pt x="8590" y="1249"/>
                      <a:pt x="8936" y="1291"/>
                      <a:pt x="9156" y="1471"/>
                    </a:cubicBezTo>
                    <a:cubicBezTo>
                      <a:pt x="9323" y="1638"/>
                      <a:pt x="9424" y="1872"/>
                      <a:pt x="9390" y="2106"/>
                    </a:cubicBezTo>
                    <a:cubicBezTo>
                      <a:pt x="9424" y="2373"/>
                      <a:pt x="9323" y="2640"/>
                      <a:pt x="9106" y="2824"/>
                    </a:cubicBezTo>
                    <a:lnTo>
                      <a:pt x="9123" y="2824"/>
                    </a:lnTo>
                    <a:cubicBezTo>
                      <a:pt x="8912" y="2975"/>
                      <a:pt x="8612" y="3023"/>
                      <a:pt x="8318" y="3023"/>
                    </a:cubicBezTo>
                    <a:cubicBezTo>
                      <a:pt x="8122" y="3023"/>
                      <a:pt x="7930" y="3001"/>
                      <a:pt x="7770" y="2975"/>
                    </a:cubicBezTo>
                    <a:cubicBezTo>
                      <a:pt x="7970" y="2407"/>
                      <a:pt x="8104" y="1838"/>
                      <a:pt x="8154" y="1254"/>
                    </a:cubicBezTo>
                    <a:cubicBezTo>
                      <a:pt x="8203" y="1251"/>
                      <a:pt x="8258" y="1249"/>
                      <a:pt x="8316" y="1249"/>
                    </a:cubicBezTo>
                    <a:close/>
                    <a:moveTo>
                      <a:pt x="251" y="1"/>
                    </a:moveTo>
                    <a:cubicBezTo>
                      <a:pt x="251" y="1"/>
                      <a:pt x="0" y="5247"/>
                      <a:pt x="4027" y="5431"/>
                    </a:cubicBezTo>
                    <a:cubicBezTo>
                      <a:pt x="4113" y="5435"/>
                      <a:pt x="4197" y="5437"/>
                      <a:pt x="4279" y="5437"/>
                    </a:cubicBezTo>
                    <a:cubicBezTo>
                      <a:pt x="5913" y="5437"/>
                      <a:pt x="6879" y="4663"/>
                      <a:pt x="7435" y="3693"/>
                    </a:cubicBezTo>
                    <a:cubicBezTo>
                      <a:pt x="7719" y="3760"/>
                      <a:pt x="8020" y="3810"/>
                      <a:pt x="8338" y="3810"/>
                    </a:cubicBezTo>
                    <a:cubicBezTo>
                      <a:pt x="8362" y="3811"/>
                      <a:pt x="8386" y="3811"/>
                      <a:pt x="8411" y="3811"/>
                    </a:cubicBezTo>
                    <a:cubicBezTo>
                      <a:pt x="8821" y="3811"/>
                      <a:pt x="9227" y="3680"/>
                      <a:pt x="9574" y="3459"/>
                    </a:cubicBezTo>
                    <a:cubicBezTo>
                      <a:pt x="9858" y="3242"/>
                      <a:pt x="10176" y="2858"/>
                      <a:pt x="10176" y="2106"/>
                    </a:cubicBezTo>
                    <a:cubicBezTo>
                      <a:pt x="10209" y="1638"/>
                      <a:pt x="10009" y="1187"/>
                      <a:pt x="9658" y="886"/>
                    </a:cubicBezTo>
                    <a:cubicBezTo>
                      <a:pt x="9278" y="598"/>
                      <a:pt x="8816" y="447"/>
                      <a:pt x="8346" y="447"/>
                    </a:cubicBezTo>
                    <a:cubicBezTo>
                      <a:pt x="8299" y="447"/>
                      <a:pt x="8251" y="449"/>
                      <a:pt x="8204" y="452"/>
                    </a:cubicBezTo>
                    <a:cubicBezTo>
                      <a:pt x="8204" y="184"/>
                      <a:pt x="8187" y="1"/>
                      <a:pt x="8187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78" name="Google Shape;2178;p44"/>
              <p:cNvSpPr/>
              <p:nvPr/>
            </p:nvSpPr>
            <p:spPr>
              <a:xfrm>
                <a:off x="7835170" y="2597122"/>
                <a:ext cx="152109" cy="273675"/>
              </a:xfrm>
              <a:custGeom>
                <a:avLst/>
                <a:gdLst/>
                <a:ahLst/>
                <a:cxnLst/>
                <a:rect l="l" t="t" r="r" b="b"/>
                <a:pathLst>
                  <a:path w="4746" h="8539" extrusionOk="0">
                    <a:moveTo>
                      <a:pt x="2256" y="1"/>
                    </a:moveTo>
                    <a:cubicBezTo>
                      <a:pt x="2237" y="16"/>
                      <a:pt x="2218" y="32"/>
                      <a:pt x="2199" y="49"/>
                    </a:cubicBezTo>
                    <a:lnTo>
                      <a:pt x="2199" y="49"/>
                    </a:lnTo>
                    <a:cubicBezTo>
                      <a:pt x="1580" y="475"/>
                      <a:pt x="1276" y="1198"/>
                      <a:pt x="1420" y="1922"/>
                    </a:cubicBezTo>
                    <a:cubicBezTo>
                      <a:pt x="1470" y="2290"/>
                      <a:pt x="1654" y="2607"/>
                      <a:pt x="1905" y="2858"/>
                    </a:cubicBezTo>
                    <a:cubicBezTo>
                      <a:pt x="2156" y="3092"/>
                      <a:pt x="2423" y="3275"/>
                      <a:pt x="2573" y="3526"/>
                    </a:cubicBezTo>
                    <a:cubicBezTo>
                      <a:pt x="2707" y="3777"/>
                      <a:pt x="2707" y="4077"/>
                      <a:pt x="2557" y="4328"/>
                    </a:cubicBezTo>
                    <a:cubicBezTo>
                      <a:pt x="2423" y="4579"/>
                      <a:pt x="2222" y="4779"/>
                      <a:pt x="1988" y="4930"/>
                    </a:cubicBezTo>
                    <a:cubicBezTo>
                      <a:pt x="1537" y="5230"/>
                      <a:pt x="1036" y="5397"/>
                      <a:pt x="635" y="5698"/>
                    </a:cubicBezTo>
                    <a:cubicBezTo>
                      <a:pt x="284" y="5966"/>
                      <a:pt x="50" y="6383"/>
                      <a:pt x="17" y="6834"/>
                    </a:cubicBezTo>
                    <a:cubicBezTo>
                      <a:pt x="0" y="7152"/>
                      <a:pt x="67" y="7486"/>
                      <a:pt x="217" y="7787"/>
                    </a:cubicBezTo>
                    <a:cubicBezTo>
                      <a:pt x="318" y="7971"/>
                      <a:pt x="451" y="8138"/>
                      <a:pt x="602" y="8255"/>
                    </a:cubicBezTo>
                    <a:cubicBezTo>
                      <a:pt x="652" y="8288"/>
                      <a:pt x="702" y="8321"/>
                      <a:pt x="735" y="8355"/>
                    </a:cubicBezTo>
                    <a:cubicBezTo>
                      <a:pt x="769" y="8372"/>
                      <a:pt x="785" y="8372"/>
                      <a:pt x="785" y="8372"/>
                    </a:cubicBezTo>
                    <a:cubicBezTo>
                      <a:pt x="568" y="8204"/>
                      <a:pt x="401" y="8004"/>
                      <a:pt x="284" y="7753"/>
                    </a:cubicBezTo>
                    <a:cubicBezTo>
                      <a:pt x="134" y="7469"/>
                      <a:pt x="84" y="7152"/>
                      <a:pt x="117" y="6834"/>
                    </a:cubicBezTo>
                    <a:cubicBezTo>
                      <a:pt x="151" y="6417"/>
                      <a:pt x="368" y="6032"/>
                      <a:pt x="719" y="5798"/>
                    </a:cubicBezTo>
                    <a:cubicBezTo>
                      <a:pt x="1086" y="5514"/>
                      <a:pt x="1587" y="5364"/>
                      <a:pt x="2072" y="5047"/>
                    </a:cubicBezTo>
                    <a:cubicBezTo>
                      <a:pt x="2323" y="4880"/>
                      <a:pt x="2540" y="4662"/>
                      <a:pt x="2690" y="4395"/>
                    </a:cubicBezTo>
                    <a:cubicBezTo>
                      <a:pt x="2774" y="4261"/>
                      <a:pt x="2807" y="4094"/>
                      <a:pt x="2824" y="3927"/>
                    </a:cubicBezTo>
                    <a:cubicBezTo>
                      <a:pt x="2841" y="3760"/>
                      <a:pt x="2790" y="3593"/>
                      <a:pt x="2707" y="3443"/>
                    </a:cubicBezTo>
                    <a:cubicBezTo>
                      <a:pt x="2540" y="3142"/>
                      <a:pt x="2239" y="2958"/>
                      <a:pt x="2022" y="2741"/>
                    </a:cubicBezTo>
                    <a:cubicBezTo>
                      <a:pt x="1788" y="2507"/>
                      <a:pt x="1638" y="2223"/>
                      <a:pt x="1587" y="1905"/>
                    </a:cubicBezTo>
                    <a:cubicBezTo>
                      <a:pt x="1488" y="1397"/>
                      <a:pt x="1628" y="880"/>
                      <a:pt x="1953" y="496"/>
                    </a:cubicBezTo>
                    <a:lnTo>
                      <a:pt x="1953" y="496"/>
                    </a:lnTo>
                    <a:cubicBezTo>
                      <a:pt x="1937" y="609"/>
                      <a:pt x="1944" y="725"/>
                      <a:pt x="1972" y="836"/>
                    </a:cubicBezTo>
                    <a:cubicBezTo>
                      <a:pt x="2005" y="1037"/>
                      <a:pt x="2089" y="1220"/>
                      <a:pt x="2206" y="1371"/>
                    </a:cubicBezTo>
                    <a:cubicBezTo>
                      <a:pt x="2440" y="1655"/>
                      <a:pt x="2757" y="1872"/>
                      <a:pt x="3091" y="2022"/>
                    </a:cubicBezTo>
                    <a:cubicBezTo>
                      <a:pt x="3409" y="2156"/>
                      <a:pt x="3693" y="2323"/>
                      <a:pt x="3943" y="2557"/>
                    </a:cubicBezTo>
                    <a:cubicBezTo>
                      <a:pt x="4161" y="2774"/>
                      <a:pt x="4328" y="3058"/>
                      <a:pt x="4411" y="3376"/>
                    </a:cubicBezTo>
                    <a:cubicBezTo>
                      <a:pt x="4578" y="3944"/>
                      <a:pt x="4478" y="4562"/>
                      <a:pt x="4127" y="5047"/>
                    </a:cubicBezTo>
                    <a:cubicBezTo>
                      <a:pt x="3776" y="5481"/>
                      <a:pt x="3292" y="5765"/>
                      <a:pt x="3024" y="6199"/>
                    </a:cubicBezTo>
                    <a:cubicBezTo>
                      <a:pt x="2891" y="6417"/>
                      <a:pt x="2824" y="6651"/>
                      <a:pt x="2824" y="6901"/>
                    </a:cubicBezTo>
                    <a:cubicBezTo>
                      <a:pt x="2807" y="7118"/>
                      <a:pt x="2907" y="7336"/>
                      <a:pt x="3075" y="7486"/>
                    </a:cubicBezTo>
                    <a:cubicBezTo>
                      <a:pt x="3225" y="7603"/>
                      <a:pt x="3409" y="7670"/>
                      <a:pt x="3592" y="7720"/>
                    </a:cubicBezTo>
                    <a:cubicBezTo>
                      <a:pt x="3726" y="7753"/>
                      <a:pt x="3877" y="7787"/>
                      <a:pt x="4010" y="7854"/>
                    </a:cubicBezTo>
                    <a:cubicBezTo>
                      <a:pt x="4194" y="7954"/>
                      <a:pt x="4311" y="8138"/>
                      <a:pt x="4328" y="8338"/>
                    </a:cubicBezTo>
                    <a:cubicBezTo>
                      <a:pt x="4328" y="8405"/>
                      <a:pt x="4311" y="8472"/>
                      <a:pt x="4278" y="8539"/>
                    </a:cubicBezTo>
                    <a:cubicBezTo>
                      <a:pt x="4278" y="8539"/>
                      <a:pt x="4294" y="8522"/>
                      <a:pt x="4311" y="8505"/>
                    </a:cubicBezTo>
                    <a:cubicBezTo>
                      <a:pt x="4344" y="8455"/>
                      <a:pt x="4361" y="8388"/>
                      <a:pt x="4361" y="8338"/>
                    </a:cubicBezTo>
                    <a:cubicBezTo>
                      <a:pt x="4361" y="8121"/>
                      <a:pt x="4244" y="7904"/>
                      <a:pt x="4044" y="7803"/>
                    </a:cubicBezTo>
                    <a:cubicBezTo>
                      <a:pt x="3793" y="7653"/>
                      <a:pt x="3425" y="7653"/>
                      <a:pt x="3141" y="7419"/>
                    </a:cubicBezTo>
                    <a:cubicBezTo>
                      <a:pt x="2841" y="7169"/>
                      <a:pt x="2874" y="6667"/>
                      <a:pt x="3125" y="6266"/>
                    </a:cubicBezTo>
                    <a:cubicBezTo>
                      <a:pt x="3375" y="5865"/>
                      <a:pt x="3860" y="5598"/>
                      <a:pt x="4244" y="5147"/>
                    </a:cubicBezTo>
                    <a:cubicBezTo>
                      <a:pt x="4628" y="4612"/>
                      <a:pt x="4745" y="3944"/>
                      <a:pt x="4562" y="3326"/>
                    </a:cubicBezTo>
                    <a:cubicBezTo>
                      <a:pt x="4478" y="2991"/>
                      <a:pt x="4311" y="2691"/>
                      <a:pt x="4060" y="2440"/>
                    </a:cubicBezTo>
                    <a:cubicBezTo>
                      <a:pt x="3793" y="2206"/>
                      <a:pt x="3492" y="2006"/>
                      <a:pt x="3175" y="1872"/>
                    </a:cubicBezTo>
                    <a:cubicBezTo>
                      <a:pt x="2857" y="1738"/>
                      <a:pt x="2573" y="1538"/>
                      <a:pt x="2339" y="1270"/>
                    </a:cubicBezTo>
                    <a:cubicBezTo>
                      <a:pt x="2122" y="1003"/>
                      <a:pt x="2072" y="652"/>
                      <a:pt x="2189" y="335"/>
                    </a:cubicBezTo>
                    <a:cubicBezTo>
                      <a:pt x="2239" y="251"/>
                      <a:pt x="2289" y="201"/>
                      <a:pt x="2356" y="151"/>
                    </a:cubicBezTo>
                    <a:lnTo>
                      <a:pt x="2356" y="151"/>
                    </a:lnTo>
                    <a:cubicBezTo>
                      <a:pt x="2356" y="151"/>
                      <a:pt x="2356" y="151"/>
                      <a:pt x="2356" y="151"/>
                    </a:cubicBezTo>
                    <a:lnTo>
                      <a:pt x="2272" y="1"/>
                    </a:lnTo>
                    <a:cubicBezTo>
                      <a:pt x="2269" y="3"/>
                      <a:pt x="2265" y="6"/>
                      <a:pt x="2261" y="8"/>
                    </a:cubicBezTo>
                    <a:lnTo>
                      <a:pt x="2261" y="8"/>
                    </a:lnTo>
                    <a:lnTo>
                      <a:pt x="2256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79" name="Google Shape;2179;p44"/>
              <p:cNvSpPr/>
              <p:nvPr/>
            </p:nvSpPr>
            <p:spPr>
              <a:xfrm>
                <a:off x="7062957" y="3777908"/>
                <a:ext cx="59998" cy="891118"/>
              </a:xfrm>
              <a:custGeom>
                <a:avLst/>
                <a:gdLst/>
                <a:ahLst/>
                <a:cxnLst/>
                <a:rect l="l" t="t" r="r" b="b"/>
                <a:pathLst>
                  <a:path w="1872" h="27804" extrusionOk="0">
                    <a:moveTo>
                      <a:pt x="1872" y="1"/>
                    </a:moveTo>
                    <a:lnTo>
                      <a:pt x="84" y="68"/>
                    </a:lnTo>
                    <a:lnTo>
                      <a:pt x="0" y="27804"/>
                    </a:lnTo>
                    <a:lnTo>
                      <a:pt x="1237" y="27804"/>
                    </a:lnTo>
                    <a:lnTo>
                      <a:pt x="1872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80" name="Google Shape;2180;p44"/>
              <p:cNvSpPr/>
              <p:nvPr/>
            </p:nvSpPr>
            <p:spPr>
              <a:xfrm>
                <a:off x="6651691" y="3774158"/>
                <a:ext cx="254926" cy="894868"/>
              </a:xfrm>
              <a:custGeom>
                <a:avLst/>
                <a:gdLst/>
                <a:ahLst/>
                <a:cxnLst/>
                <a:rect l="l" t="t" r="r" b="b"/>
                <a:pathLst>
                  <a:path w="7954" h="27921" extrusionOk="0">
                    <a:moveTo>
                      <a:pt x="5982" y="1"/>
                    </a:moveTo>
                    <a:lnTo>
                      <a:pt x="0" y="27921"/>
                    </a:lnTo>
                    <a:lnTo>
                      <a:pt x="1370" y="27921"/>
                    </a:lnTo>
                    <a:lnTo>
                      <a:pt x="7953" y="118"/>
                    </a:lnTo>
                    <a:lnTo>
                      <a:pt x="5982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81" name="Google Shape;2181;p44"/>
              <p:cNvSpPr/>
              <p:nvPr/>
            </p:nvSpPr>
            <p:spPr>
              <a:xfrm>
                <a:off x="6459776" y="2797659"/>
                <a:ext cx="1293506" cy="1004864"/>
              </a:xfrm>
              <a:custGeom>
                <a:avLst/>
                <a:gdLst/>
                <a:ahLst/>
                <a:cxnLst/>
                <a:rect l="l" t="t" r="r" b="b"/>
                <a:pathLst>
                  <a:path w="40359" h="31353" extrusionOk="0">
                    <a:moveTo>
                      <a:pt x="32420" y="1"/>
                    </a:moveTo>
                    <a:cubicBezTo>
                      <a:pt x="21878" y="1"/>
                      <a:pt x="22460" y="14473"/>
                      <a:pt x="19906" y="21179"/>
                    </a:cubicBezTo>
                    <a:cubicBezTo>
                      <a:pt x="17786" y="26748"/>
                      <a:pt x="12045" y="27252"/>
                      <a:pt x="9320" y="27252"/>
                    </a:cubicBezTo>
                    <a:cubicBezTo>
                      <a:pt x="8718" y="27252"/>
                      <a:pt x="8263" y="27227"/>
                      <a:pt x="8027" y="27227"/>
                    </a:cubicBezTo>
                    <a:cubicBezTo>
                      <a:pt x="7930" y="27227"/>
                      <a:pt x="7802" y="27227"/>
                      <a:pt x="7648" y="27227"/>
                    </a:cubicBezTo>
                    <a:cubicBezTo>
                      <a:pt x="5755" y="27227"/>
                      <a:pt x="1" y="27313"/>
                      <a:pt x="2195" y="29600"/>
                    </a:cubicBezTo>
                    <a:cubicBezTo>
                      <a:pt x="3299" y="30758"/>
                      <a:pt x="10011" y="31352"/>
                      <a:pt x="17159" y="31352"/>
                    </a:cubicBezTo>
                    <a:cubicBezTo>
                      <a:pt x="25381" y="31352"/>
                      <a:pt x="34178" y="30566"/>
                      <a:pt x="35679" y="28948"/>
                    </a:cubicBezTo>
                    <a:cubicBezTo>
                      <a:pt x="38486" y="25941"/>
                      <a:pt x="38921" y="17085"/>
                      <a:pt x="39673" y="8330"/>
                    </a:cubicBezTo>
                    <a:cubicBezTo>
                      <a:pt x="40359" y="354"/>
                      <a:pt x="34127" y="6"/>
                      <a:pt x="33034" y="6"/>
                    </a:cubicBezTo>
                    <a:cubicBezTo>
                      <a:pt x="32930" y="6"/>
                      <a:pt x="32872" y="9"/>
                      <a:pt x="32872" y="9"/>
                    </a:cubicBezTo>
                    <a:cubicBezTo>
                      <a:pt x="32719" y="4"/>
                      <a:pt x="32569" y="1"/>
                      <a:pt x="32420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82" name="Google Shape;2182;p44"/>
              <p:cNvSpPr/>
              <p:nvPr/>
            </p:nvSpPr>
            <p:spPr>
              <a:xfrm>
                <a:off x="6506024" y="2798492"/>
                <a:ext cx="1232226" cy="1005344"/>
              </a:xfrm>
              <a:custGeom>
                <a:avLst/>
                <a:gdLst/>
                <a:ahLst/>
                <a:cxnLst/>
                <a:rect l="l" t="t" r="r" b="b"/>
                <a:pathLst>
                  <a:path w="38447" h="31368" extrusionOk="0">
                    <a:moveTo>
                      <a:pt x="31914" y="0"/>
                    </a:moveTo>
                    <a:lnTo>
                      <a:pt x="31914" y="0"/>
                    </a:lnTo>
                    <a:cubicBezTo>
                      <a:pt x="31914" y="0"/>
                      <a:pt x="37695" y="1187"/>
                      <a:pt x="37144" y="7218"/>
                    </a:cubicBezTo>
                    <a:cubicBezTo>
                      <a:pt x="36609" y="13267"/>
                      <a:pt x="35088" y="23860"/>
                      <a:pt x="32281" y="26550"/>
                    </a:cubicBezTo>
                    <a:cubicBezTo>
                      <a:pt x="29964" y="28785"/>
                      <a:pt x="22064" y="29573"/>
                      <a:pt x="16033" y="29573"/>
                    </a:cubicBezTo>
                    <a:cubicBezTo>
                      <a:pt x="14759" y="29573"/>
                      <a:pt x="13569" y="29538"/>
                      <a:pt x="12532" y="29474"/>
                    </a:cubicBezTo>
                    <a:cubicBezTo>
                      <a:pt x="5615" y="29039"/>
                      <a:pt x="1254" y="27719"/>
                      <a:pt x="1254" y="27719"/>
                    </a:cubicBezTo>
                    <a:cubicBezTo>
                      <a:pt x="1254" y="27719"/>
                      <a:pt x="0" y="28538"/>
                      <a:pt x="368" y="29056"/>
                    </a:cubicBezTo>
                    <a:cubicBezTo>
                      <a:pt x="723" y="29535"/>
                      <a:pt x="3630" y="31368"/>
                      <a:pt x="16954" y="31368"/>
                    </a:cubicBezTo>
                    <a:cubicBezTo>
                      <a:pt x="18053" y="31368"/>
                      <a:pt x="19223" y="31355"/>
                      <a:pt x="20468" y="31328"/>
                    </a:cubicBezTo>
                    <a:cubicBezTo>
                      <a:pt x="36793" y="30978"/>
                      <a:pt x="35657" y="28572"/>
                      <a:pt x="36342" y="25932"/>
                    </a:cubicBezTo>
                    <a:cubicBezTo>
                      <a:pt x="37010" y="23308"/>
                      <a:pt x="38447" y="9273"/>
                      <a:pt x="38246" y="6182"/>
                    </a:cubicBezTo>
                    <a:cubicBezTo>
                      <a:pt x="38046" y="3091"/>
                      <a:pt x="36492" y="535"/>
                      <a:pt x="31914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83" name="Google Shape;2183;p44"/>
              <p:cNvSpPr/>
              <p:nvPr/>
            </p:nvSpPr>
            <p:spPr>
              <a:xfrm>
                <a:off x="6779122" y="1961987"/>
                <a:ext cx="599816" cy="586579"/>
              </a:xfrm>
              <a:custGeom>
                <a:avLst/>
                <a:gdLst/>
                <a:ahLst/>
                <a:cxnLst/>
                <a:rect l="l" t="t" r="r" b="b"/>
                <a:pathLst>
                  <a:path w="18715" h="18302" extrusionOk="0">
                    <a:moveTo>
                      <a:pt x="9823" y="1"/>
                    </a:moveTo>
                    <a:cubicBezTo>
                      <a:pt x="9350" y="1"/>
                      <a:pt x="8871" y="77"/>
                      <a:pt x="8405" y="235"/>
                    </a:cubicBezTo>
                    <a:lnTo>
                      <a:pt x="6701" y="1037"/>
                    </a:lnTo>
                    <a:cubicBezTo>
                      <a:pt x="6564" y="978"/>
                      <a:pt x="6424" y="950"/>
                      <a:pt x="6285" y="950"/>
                    </a:cubicBezTo>
                    <a:cubicBezTo>
                      <a:pt x="5645" y="950"/>
                      <a:pt x="5021" y="1525"/>
                      <a:pt x="4746" y="2157"/>
                    </a:cubicBezTo>
                    <a:cubicBezTo>
                      <a:pt x="4429" y="2925"/>
                      <a:pt x="4395" y="3811"/>
                      <a:pt x="4011" y="4546"/>
                    </a:cubicBezTo>
                    <a:cubicBezTo>
                      <a:pt x="3242" y="6117"/>
                      <a:pt x="1104" y="6902"/>
                      <a:pt x="903" y="8640"/>
                    </a:cubicBezTo>
                    <a:cubicBezTo>
                      <a:pt x="736" y="9926"/>
                      <a:pt x="1772" y="11196"/>
                      <a:pt x="1421" y="12449"/>
                    </a:cubicBezTo>
                    <a:cubicBezTo>
                      <a:pt x="1170" y="13285"/>
                      <a:pt x="352" y="13869"/>
                      <a:pt x="185" y="14722"/>
                    </a:cubicBezTo>
                    <a:cubicBezTo>
                      <a:pt x="1" y="15640"/>
                      <a:pt x="652" y="16526"/>
                      <a:pt x="1388" y="17094"/>
                    </a:cubicBezTo>
                    <a:cubicBezTo>
                      <a:pt x="2476" y="17896"/>
                      <a:pt x="3762" y="18302"/>
                      <a:pt x="5053" y="18302"/>
                    </a:cubicBezTo>
                    <a:cubicBezTo>
                      <a:pt x="6102" y="18302"/>
                      <a:pt x="7153" y="18034"/>
                      <a:pt x="8104" y="17495"/>
                    </a:cubicBezTo>
                    <a:cubicBezTo>
                      <a:pt x="9090" y="16910"/>
                      <a:pt x="9959" y="16025"/>
                      <a:pt x="11095" y="15824"/>
                    </a:cubicBezTo>
                    <a:cubicBezTo>
                      <a:pt x="11273" y="15791"/>
                      <a:pt x="11451" y="15775"/>
                      <a:pt x="11629" y="15775"/>
                    </a:cubicBezTo>
                    <a:cubicBezTo>
                      <a:pt x="12418" y="15775"/>
                      <a:pt x="13202" y="16076"/>
                      <a:pt x="13952" y="16376"/>
                    </a:cubicBezTo>
                    <a:cubicBezTo>
                      <a:pt x="14727" y="16685"/>
                      <a:pt x="15536" y="16995"/>
                      <a:pt x="16352" y="16995"/>
                    </a:cubicBezTo>
                    <a:cubicBezTo>
                      <a:pt x="16504" y="16995"/>
                      <a:pt x="16657" y="16984"/>
                      <a:pt x="16810" y="16960"/>
                    </a:cubicBezTo>
                    <a:cubicBezTo>
                      <a:pt x="17795" y="16810"/>
                      <a:pt x="18714" y="15908"/>
                      <a:pt x="18514" y="14939"/>
                    </a:cubicBezTo>
                    <a:cubicBezTo>
                      <a:pt x="18347" y="14120"/>
                      <a:pt x="17461" y="13585"/>
                      <a:pt x="17328" y="12767"/>
                    </a:cubicBezTo>
                    <a:cubicBezTo>
                      <a:pt x="17177" y="11881"/>
                      <a:pt x="17929" y="11096"/>
                      <a:pt x="18079" y="10227"/>
                    </a:cubicBezTo>
                    <a:cubicBezTo>
                      <a:pt x="18247" y="9275"/>
                      <a:pt x="17712" y="8356"/>
                      <a:pt x="17060" y="7654"/>
                    </a:cubicBezTo>
                    <a:cubicBezTo>
                      <a:pt x="16425" y="6952"/>
                      <a:pt x="15640" y="6367"/>
                      <a:pt x="15105" y="5582"/>
                    </a:cubicBezTo>
                    <a:cubicBezTo>
                      <a:pt x="14370" y="4462"/>
                      <a:pt x="14203" y="3042"/>
                      <a:pt x="13468" y="1923"/>
                    </a:cubicBezTo>
                    <a:cubicBezTo>
                      <a:pt x="12627" y="693"/>
                      <a:pt x="11250" y="1"/>
                      <a:pt x="9823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84" name="Google Shape;2184;p44"/>
              <p:cNvSpPr/>
              <p:nvPr/>
            </p:nvSpPr>
            <p:spPr>
              <a:xfrm>
                <a:off x="6942449" y="1973781"/>
                <a:ext cx="263515" cy="500204"/>
              </a:xfrm>
              <a:custGeom>
                <a:avLst/>
                <a:gdLst/>
                <a:ahLst/>
                <a:cxnLst/>
                <a:rect l="l" t="t" r="r" b="b"/>
                <a:pathLst>
                  <a:path w="8222" h="15607" extrusionOk="0">
                    <a:moveTo>
                      <a:pt x="4462" y="1"/>
                    </a:moveTo>
                    <a:lnTo>
                      <a:pt x="235" y="2023"/>
                    </a:lnTo>
                    <a:cubicBezTo>
                      <a:pt x="235" y="2023"/>
                      <a:pt x="1" y="7436"/>
                      <a:pt x="101" y="9775"/>
                    </a:cubicBezTo>
                    <a:cubicBezTo>
                      <a:pt x="201" y="12115"/>
                      <a:pt x="2507" y="12415"/>
                      <a:pt x="2507" y="12415"/>
                    </a:cubicBezTo>
                    <a:cubicBezTo>
                      <a:pt x="2507" y="12415"/>
                      <a:pt x="2708" y="15005"/>
                      <a:pt x="2591" y="15607"/>
                    </a:cubicBezTo>
                    <a:lnTo>
                      <a:pt x="8222" y="15573"/>
                    </a:lnTo>
                    <a:lnTo>
                      <a:pt x="8155" y="4211"/>
                    </a:lnTo>
                    <a:lnTo>
                      <a:pt x="4462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85" name="Google Shape;2185;p44"/>
              <p:cNvSpPr/>
              <p:nvPr/>
            </p:nvSpPr>
            <p:spPr>
              <a:xfrm>
                <a:off x="6959596" y="2161755"/>
                <a:ext cx="18781" cy="19326"/>
              </a:xfrm>
              <a:custGeom>
                <a:avLst/>
                <a:gdLst/>
                <a:ahLst/>
                <a:cxnLst/>
                <a:rect l="l" t="t" r="r" b="b"/>
                <a:pathLst>
                  <a:path w="586" h="603" extrusionOk="0">
                    <a:moveTo>
                      <a:pt x="301" y="1"/>
                    </a:moveTo>
                    <a:cubicBezTo>
                      <a:pt x="134" y="1"/>
                      <a:pt x="1" y="134"/>
                      <a:pt x="1" y="301"/>
                    </a:cubicBezTo>
                    <a:cubicBezTo>
                      <a:pt x="1" y="468"/>
                      <a:pt x="134" y="602"/>
                      <a:pt x="285" y="602"/>
                    </a:cubicBezTo>
                    <a:cubicBezTo>
                      <a:pt x="452" y="602"/>
                      <a:pt x="585" y="485"/>
                      <a:pt x="585" y="318"/>
                    </a:cubicBezTo>
                    <a:cubicBezTo>
                      <a:pt x="585" y="151"/>
                      <a:pt x="468" y="17"/>
                      <a:pt x="301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86" name="Google Shape;2186;p44"/>
              <p:cNvSpPr/>
              <p:nvPr/>
            </p:nvSpPr>
            <p:spPr>
              <a:xfrm>
                <a:off x="6953186" y="2143326"/>
                <a:ext cx="38043" cy="11634"/>
              </a:xfrm>
              <a:custGeom>
                <a:avLst/>
                <a:gdLst/>
                <a:ahLst/>
                <a:cxnLst/>
                <a:rect l="l" t="t" r="r" b="b"/>
                <a:pathLst>
                  <a:path w="1187" h="363" extrusionOk="0">
                    <a:moveTo>
                      <a:pt x="610" y="1"/>
                    </a:moveTo>
                    <a:cubicBezTo>
                      <a:pt x="437" y="1"/>
                      <a:pt x="267" y="59"/>
                      <a:pt x="134" y="175"/>
                    </a:cubicBezTo>
                    <a:cubicBezTo>
                      <a:pt x="34" y="258"/>
                      <a:pt x="0" y="342"/>
                      <a:pt x="17" y="358"/>
                    </a:cubicBezTo>
                    <a:cubicBezTo>
                      <a:pt x="20" y="361"/>
                      <a:pt x="24" y="362"/>
                      <a:pt x="29" y="362"/>
                    </a:cubicBezTo>
                    <a:cubicBezTo>
                      <a:pt x="87" y="362"/>
                      <a:pt x="294" y="207"/>
                      <a:pt x="585" y="191"/>
                    </a:cubicBezTo>
                    <a:cubicBezTo>
                      <a:pt x="600" y="190"/>
                      <a:pt x="615" y="190"/>
                      <a:pt x="630" y="190"/>
                    </a:cubicBezTo>
                    <a:cubicBezTo>
                      <a:pt x="896" y="190"/>
                      <a:pt x="1096" y="313"/>
                      <a:pt x="1156" y="313"/>
                    </a:cubicBezTo>
                    <a:cubicBezTo>
                      <a:pt x="1162" y="313"/>
                      <a:pt x="1167" y="311"/>
                      <a:pt x="1170" y="308"/>
                    </a:cubicBezTo>
                    <a:cubicBezTo>
                      <a:pt x="1186" y="275"/>
                      <a:pt x="1153" y="208"/>
                      <a:pt x="1053" y="141"/>
                    </a:cubicBezTo>
                    <a:cubicBezTo>
                      <a:pt x="919" y="47"/>
                      <a:pt x="764" y="1"/>
                      <a:pt x="610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87" name="Google Shape;2187;p44"/>
              <p:cNvSpPr/>
              <p:nvPr/>
            </p:nvSpPr>
            <p:spPr>
              <a:xfrm>
                <a:off x="7069367" y="2161755"/>
                <a:ext cx="18781" cy="19326"/>
              </a:xfrm>
              <a:custGeom>
                <a:avLst/>
                <a:gdLst/>
                <a:ahLst/>
                <a:cxnLst/>
                <a:rect l="l" t="t" r="r" b="b"/>
                <a:pathLst>
                  <a:path w="586" h="603" extrusionOk="0">
                    <a:moveTo>
                      <a:pt x="302" y="1"/>
                    </a:moveTo>
                    <a:cubicBezTo>
                      <a:pt x="135" y="1"/>
                      <a:pt x="1" y="134"/>
                      <a:pt x="1" y="301"/>
                    </a:cubicBezTo>
                    <a:cubicBezTo>
                      <a:pt x="1" y="468"/>
                      <a:pt x="135" y="602"/>
                      <a:pt x="285" y="602"/>
                    </a:cubicBezTo>
                    <a:cubicBezTo>
                      <a:pt x="452" y="602"/>
                      <a:pt x="586" y="485"/>
                      <a:pt x="586" y="318"/>
                    </a:cubicBezTo>
                    <a:cubicBezTo>
                      <a:pt x="586" y="151"/>
                      <a:pt x="469" y="17"/>
                      <a:pt x="302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88" name="Google Shape;2188;p44"/>
              <p:cNvSpPr/>
              <p:nvPr/>
            </p:nvSpPr>
            <p:spPr>
              <a:xfrm>
                <a:off x="7065104" y="2145377"/>
                <a:ext cx="38043" cy="11346"/>
              </a:xfrm>
              <a:custGeom>
                <a:avLst/>
                <a:gdLst/>
                <a:ahLst/>
                <a:cxnLst/>
                <a:rect l="l" t="t" r="r" b="b"/>
                <a:pathLst>
                  <a:path w="1187" h="354" extrusionOk="0">
                    <a:moveTo>
                      <a:pt x="611" y="1"/>
                    </a:moveTo>
                    <a:cubicBezTo>
                      <a:pt x="436" y="1"/>
                      <a:pt x="262" y="60"/>
                      <a:pt x="117" y="177"/>
                    </a:cubicBezTo>
                    <a:cubicBezTo>
                      <a:pt x="34" y="261"/>
                      <a:pt x="0" y="328"/>
                      <a:pt x="17" y="345"/>
                    </a:cubicBezTo>
                    <a:cubicBezTo>
                      <a:pt x="21" y="350"/>
                      <a:pt x="28" y="353"/>
                      <a:pt x="37" y="353"/>
                    </a:cubicBezTo>
                    <a:cubicBezTo>
                      <a:pt x="104" y="353"/>
                      <a:pt x="305" y="209"/>
                      <a:pt x="585" y="194"/>
                    </a:cubicBezTo>
                    <a:cubicBezTo>
                      <a:pt x="600" y="193"/>
                      <a:pt x="615" y="193"/>
                      <a:pt x="630" y="193"/>
                    </a:cubicBezTo>
                    <a:cubicBezTo>
                      <a:pt x="884" y="193"/>
                      <a:pt x="1078" y="304"/>
                      <a:pt x="1147" y="304"/>
                    </a:cubicBezTo>
                    <a:cubicBezTo>
                      <a:pt x="1158" y="304"/>
                      <a:pt x="1165" y="301"/>
                      <a:pt x="1170" y="294"/>
                    </a:cubicBezTo>
                    <a:cubicBezTo>
                      <a:pt x="1187" y="278"/>
                      <a:pt x="1136" y="211"/>
                      <a:pt x="1036" y="127"/>
                    </a:cubicBezTo>
                    <a:cubicBezTo>
                      <a:pt x="906" y="43"/>
                      <a:pt x="758" y="1"/>
                      <a:pt x="611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89" name="Google Shape;2189;p44"/>
              <p:cNvSpPr/>
              <p:nvPr/>
            </p:nvSpPr>
            <p:spPr>
              <a:xfrm>
                <a:off x="7001357" y="2153165"/>
                <a:ext cx="30576" cy="91086"/>
              </a:xfrm>
              <a:custGeom>
                <a:avLst/>
                <a:gdLst/>
                <a:ahLst/>
                <a:cxnLst/>
                <a:rect l="l" t="t" r="r" b="b"/>
                <a:pathLst>
                  <a:path w="954" h="2842" extrusionOk="0">
                    <a:moveTo>
                      <a:pt x="919" y="1"/>
                    </a:moveTo>
                    <a:cubicBezTo>
                      <a:pt x="880" y="1"/>
                      <a:pt x="599" y="747"/>
                      <a:pt x="285" y="1689"/>
                    </a:cubicBezTo>
                    <a:cubicBezTo>
                      <a:pt x="201" y="1923"/>
                      <a:pt x="135" y="2140"/>
                      <a:pt x="68" y="2357"/>
                    </a:cubicBezTo>
                    <a:cubicBezTo>
                      <a:pt x="18" y="2457"/>
                      <a:pt x="1" y="2591"/>
                      <a:pt x="34" y="2691"/>
                    </a:cubicBezTo>
                    <a:cubicBezTo>
                      <a:pt x="51" y="2758"/>
                      <a:pt x="101" y="2808"/>
                      <a:pt x="168" y="2825"/>
                    </a:cubicBezTo>
                    <a:cubicBezTo>
                      <a:pt x="201" y="2825"/>
                      <a:pt x="252" y="2842"/>
                      <a:pt x="302" y="2842"/>
                    </a:cubicBezTo>
                    <a:cubicBezTo>
                      <a:pt x="469" y="2842"/>
                      <a:pt x="653" y="2842"/>
                      <a:pt x="820" y="2808"/>
                    </a:cubicBezTo>
                    <a:cubicBezTo>
                      <a:pt x="653" y="2758"/>
                      <a:pt x="485" y="2741"/>
                      <a:pt x="302" y="2741"/>
                    </a:cubicBezTo>
                    <a:cubicBezTo>
                      <a:pt x="218" y="2725"/>
                      <a:pt x="151" y="2708"/>
                      <a:pt x="135" y="2658"/>
                    </a:cubicBezTo>
                    <a:cubicBezTo>
                      <a:pt x="135" y="2574"/>
                      <a:pt x="151" y="2474"/>
                      <a:pt x="185" y="2407"/>
                    </a:cubicBezTo>
                    <a:lnTo>
                      <a:pt x="419" y="1739"/>
                    </a:lnTo>
                    <a:cubicBezTo>
                      <a:pt x="719" y="787"/>
                      <a:pt x="953" y="18"/>
                      <a:pt x="920" y="1"/>
                    </a:cubicBezTo>
                    <a:cubicBezTo>
                      <a:pt x="919" y="1"/>
                      <a:pt x="919" y="1"/>
                      <a:pt x="919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90" name="Google Shape;2190;p44"/>
              <p:cNvSpPr/>
              <p:nvPr/>
            </p:nvSpPr>
            <p:spPr>
              <a:xfrm>
                <a:off x="7022798" y="2339536"/>
                <a:ext cx="97496" cy="50607"/>
              </a:xfrm>
              <a:custGeom>
                <a:avLst/>
                <a:gdLst/>
                <a:ahLst/>
                <a:cxnLst/>
                <a:rect l="l" t="t" r="r" b="b"/>
                <a:pathLst>
                  <a:path w="3042" h="1579" extrusionOk="0">
                    <a:moveTo>
                      <a:pt x="3041" y="1"/>
                    </a:moveTo>
                    <a:lnTo>
                      <a:pt x="3041" y="1"/>
                    </a:lnTo>
                    <a:cubicBezTo>
                      <a:pt x="2139" y="619"/>
                      <a:pt x="1086" y="970"/>
                      <a:pt x="0" y="1003"/>
                    </a:cubicBezTo>
                    <a:lnTo>
                      <a:pt x="34" y="1571"/>
                    </a:lnTo>
                    <a:cubicBezTo>
                      <a:pt x="120" y="1576"/>
                      <a:pt x="204" y="1579"/>
                      <a:pt x="286" y="1579"/>
                    </a:cubicBezTo>
                    <a:cubicBezTo>
                      <a:pt x="2376" y="1579"/>
                      <a:pt x="3041" y="1"/>
                      <a:pt x="3041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91" name="Google Shape;2191;p44"/>
              <p:cNvSpPr/>
              <p:nvPr/>
            </p:nvSpPr>
            <p:spPr>
              <a:xfrm>
                <a:off x="7030811" y="2254059"/>
                <a:ext cx="31633" cy="22659"/>
              </a:xfrm>
              <a:custGeom>
                <a:avLst/>
                <a:gdLst/>
                <a:ahLst/>
                <a:cxnLst/>
                <a:rect l="l" t="t" r="r" b="b"/>
                <a:pathLst>
                  <a:path w="987" h="707" extrusionOk="0">
                    <a:moveTo>
                      <a:pt x="565" y="0"/>
                    </a:moveTo>
                    <a:cubicBezTo>
                      <a:pt x="501" y="0"/>
                      <a:pt x="440" y="14"/>
                      <a:pt x="385" y="45"/>
                    </a:cubicBezTo>
                    <a:cubicBezTo>
                      <a:pt x="185" y="128"/>
                      <a:pt x="51" y="295"/>
                      <a:pt x="18" y="496"/>
                    </a:cubicBezTo>
                    <a:lnTo>
                      <a:pt x="1" y="512"/>
                    </a:lnTo>
                    <a:cubicBezTo>
                      <a:pt x="1" y="546"/>
                      <a:pt x="18" y="596"/>
                      <a:pt x="51" y="613"/>
                    </a:cubicBezTo>
                    <a:cubicBezTo>
                      <a:pt x="101" y="646"/>
                      <a:pt x="135" y="663"/>
                      <a:pt x="185" y="663"/>
                    </a:cubicBezTo>
                    <a:cubicBezTo>
                      <a:pt x="280" y="695"/>
                      <a:pt x="375" y="706"/>
                      <a:pt x="475" y="706"/>
                    </a:cubicBezTo>
                    <a:cubicBezTo>
                      <a:pt x="532" y="706"/>
                      <a:pt x="591" y="702"/>
                      <a:pt x="652" y="696"/>
                    </a:cubicBezTo>
                    <a:cubicBezTo>
                      <a:pt x="803" y="663"/>
                      <a:pt x="937" y="546"/>
                      <a:pt x="970" y="395"/>
                    </a:cubicBezTo>
                    <a:cubicBezTo>
                      <a:pt x="987" y="245"/>
                      <a:pt x="903" y="111"/>
                      <a:pt x="786" y="45"/>
                    </a:cubicBezTo>
                    <a:cubicBezTo>
                      <a:pt x="715" y="18"/>
                      <a:pt x="638" y="0"/>
                      <a:pt x="565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92" name="Google Shape;2192;p44"/>
              <p:cNvSpPr/>
              <p:nvPr/>
            </p:nvSpPr>
            <p:spPr>
              <a:xfrm>
                <a:off x="7024401" y="2243097"/>
                <a:ext cx="33717" cy="31697"/>
              </a:xfrm>
              <a:custGeom>
                <a:avLst/>
                <a:gdLst/>
                <a:ahLst/>
                <a:cxnLst/>
                <a:rect l="l" t="t" r="r" b="b"/>
                <a:pathLst>
                  <a:path w="1052" h="989" extrusionOk="0">
                    <a:moveTo>
                      <a:pt x="993" y="0"/>
                    </a:moveTo>
                    <a:cubicBezTo>
                      <a:pt x="991" y="0"/>
                      <a:pt x="989" y="1"/>
                      <a:pt x="986" y="2"/>
                    </a:cubicBezTo>
                    <a:cubicBezTo>
                      <a:pt x="985" y="2"/>
                      <a:pt x="985" y="2"/>
                      <a:pt x="984" y="2"/>
                    </a:cubicBezTo>
                    <a:cubicBezTo>
                      <a:pt x="953" y="2"/>
                      <a:pt x="946" y="359"/>
                      <a:pt x="669" y="637"/>
                    </a:cubicBezTo>
                    <a:cubicBezTo>
                      <a:pt x="368" y="905"/>
                      <a:pt x="0" y="871"/>
                      <a:pt x="0" y="921"/>
                    </a:cubicBezTo>
                    <a:cubicBezTo>
                      <a:pt x="0" y="955"/>
                      <a:pt x="84" y="988"/>
                      <a:pt x="234" y="988"/>
                    </a:cubicBezTo>
                    <a:cubicBezTo>
                      <a:pt x="652" y="971"/>
                      <a:pt x="1003" y="654"/>
                      <a:pt x="1036" y="236"/>
                    </a:cubicBezTo>
                    <a:cubicBezTo>
                      <a:pt x="1052" y="97"/>
                      <a:pt x="1024" y="0"/>
                      <a:pt x="993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93" name="Google Shape;2193;p44"/>
              <p:cNvSpPr/>
              <p:nvPr/>
            </p:nvSpPr>
            <p:spPr>
              <a:xfrm>
                <a:off x="6940334" y="1961634"/>
                <a:ext cx="313834" cy="304122"/>
              </a:xfrm>
              <a:custGeom>
                <a:avLst/>
                <a:gdLst/>
                <a:ahLst/>
                <a:cxnLst/>
                <a:rect l="l" t="t" r="r" b="b"/>
                <a:pathLst>
                  <a:path w="9792" h="9489" extrusionOk="0">
                    <a:moveTo>
                      <a:pt x="58" y="2388"/>
                    </a:moveTo>
                    <a:cubicBezTo>
                      <a:pt x="36" y="2464"/>
                      <a:pt x="16" y="2541"/>
                      <a:pt x="0" y="2619"/>
                    </a:cubicBezTo>
                    <a:lnTo>
                      <a:pt x="58" y="2388"/>
                    </a:lnTo>
                    <a:close/>
                    <a:moveTo>
                      <a:pt x="3765" y="1"/>
                    </a:moveTo>
                    <a:cubicBezTo>
                      <a:pt x="3641" y="1"/>
                      <a:pt x="3517" y="5"/>
                      <a:pt x="3392" y="12"/>
                    </a:cubicBezTo>
                    <a:cubicBezTo>
                      <a:pt x="2573" y="46"/>
                      <a:pt x="1771" y="330"/>
                      <a:pt x="1120" y="814"/>
                    </a:cubicBezTo>
                    <a:cubicBezTo>
                      <a:pt x="667" y="1174"/>
                      <a:pt x="320" y="1650"/>
                      <a:pt x="122" y="2192"/>
                    </a:cubicBezTo>
                    <a:lnTo>
                      <a:pt x="122" y="2192"/>
                    </a:lnTo>
                    <a:cubicBezTo>
                      <a:pt x="120" y="2178"/>
                      <a:pt x="119" y="2165"/>
                      <a:pt x="117" y="2151"/>
                    </a:cubicBezTo>
                    <a:lnTo>
                      <a:pt x="58" y="2388"/>
                    </a:lnTo>
                    <a:lnTo>
                      <a:pt x="58" y="2388"/>
                    </a:lnTo>
                    <a:cubicBezTo>
                      <a:pt x="77" y="2322"/>
                      <a:pt x="99" y="2256"/>
                      <a:pt x="122" y="2192"/>
                    </a:cubicBezTo>
                    <a:lnTo>
                      <a:pt x="122" y="2192"/>
                    </a:lnTo>
                    <a:cubicBezTo>
                      <a:pt x="308" y="3575"/>
                      <a:pt x="1501" y="4607"/>
                      <a:pt x="2891" y="4607"/>
                    </a:cubicBezTo>
                    <a:lnTo>
                      <a:pt x="2256" y="3204"/>
                    </a:lnTo>
                    <a:lnTo>
                      <a:pt x="2256" y="3204"/>
                    </a:lnTo>
                    <a:cubicBezTo>
                      <a:pt x="2824" y="3872"/>
                      <a:pt x="3409" y="4540"/>
                      <a:pt x="4194" y="4941"/>
                    </a:cubicBezTo>
                    <a:cubicBezTo>
                      <a:pt x="4561" y="5125"/>
                      <a:pt x="4986" y="5232"/>
                      <a:pt x="5400" y="5232"/>
                    </a:cubicBezTo>
                    <a:cubicBezTo>
                      <a:pt x="5853" y="5232"/>
                      <a:pt x="6293" y="5104"/>
                      <a:pt x="6633" y="4808"/>
                    </a:cubicBezTo>
                    <a:cubicBezTo>
                      <a:pt x="6851" y="5376"/>
                      <a:pt x="6851" y="6011"/>
                      <a:pt x="7051" y="6595"/>
                    </a:cubicBezTo>
                    <a:cubicBezTo>
                      <a:pt x="7248" y="7170"/>
                      <a:pt x="7687" y="9488"/>
                      <a:pt x="8289" y="9488"/>
                    </a:cubicBezTo>
                    <a:cubicBezTo>
                      <a:pt x="8300" y="9488"/>
                      <a:pt x="8310" y="9487"/>
                      <a:pt x="8321" y="9486"/>
                    </a:cubicBezTo>
                    <a:cubicBezTo>
                      <a:pt x="8872" y="9402"/>
                      <a:pt x="9273" y="6980"/>
                      <a:pt x="9407" y="6445"/>
                    </a:cubicBezTo>
                    <a:cubicBezTo>
                      <a:pt x="9791" y="4941"/>
                      <a:pt x="9307" y="3270"/>
                      <a:pt x="8304" y="2084"/>
                    </a:cubicBezTo>
                    <a:cubicBezTo>
                      <a:pt x="7166" y="759"/>
                      <a:pt x="5503" y="1"/>
                      <a:pt x="3765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94" name="Google Shape;2194;p44"/>
              <p:cNvSpPr/>
              <p:nvPr/>
            </p:nvSpPr>
            <p:spPr>
              <a:xfrm>
                <a:off x="6767873" y="1993620"/>
                <a:ext cx="207812" cy="375402"/>
              </a:xfrm>
              <a:custGeom>
                <a:avLst/>
                <a:gdLst/>
                <a:ahLst/>
                <a:cxnLst/>
                <a:rect l="l" t="t" r="r" b="b"/>
                <a:pathLst>
                  <a:path w="6484" h="11713" extrusionOk="0">
                    <a:moveTo>
                      <a:pt x="6484" y="0"/>
                    </a:moveTo>
                    <a:cubicBezTo>
                      <a:pt x="6350" y="150"/>
                      <a:pt x="6200" y="301"/>
                      <a:pt x="6033" y="418"/>
                    </a:cubicBezTo>
                    <a:cubicBezTo>
                      <a:pt x="5832" y="551"/>
                      <a:pt x="5615" y="668"/>
                      <a:pt x="5398" y="769"/>
                    </a:cubicBezTo>
                    <a:cubicBezTo>
                      <a:pt x="5130" y="869"/>
                      <a:pt x="4830" y="986"/>
                      <a:pt x="4496" y="1153"/>
                    </a:cubicBezTo>
                    <a:cubicBezTo>
                      <a:pt x="3694" y="1571"/>
                      <a:pt x="3242" y="2440"/>
                      <a:pt x="3359" y="3342"/>
                    </a:cubicBezTo>
                    <a:cubicBezTo>
                      <a:pt x="3409" y="3826"/>
                      <a:pt x="3610" y="4311"/>
                      <a:pt x="3560" y="4795"/>
                    </a:cubicBezTo>
                    <a:cubicBezTo>
                      <a:pt x="3560" y="5046"/>
                      <a:pt x="3460" y="5280"/>
                      <a:pt x="3309" y="5481"/>
                    </a:cubicBezTo>
                    <a:cubicBezTo>
                      <a:pt x="3125" y="5648"/>
                      <a:pt x="2875" y="5765"/>
                      <a:pt x="2624" y="5798"/>
                    </a:cubicBezTo>
                    <a:cubicBezTo>
                      <a:pt x="2090" y="5898"/>
                      <a:pt x="1588" y="6166"/>
                      <a:pt x="1171" y="6533"/>
                    </a:cubicBezTo>
                    <a:cubicBezTo>
                      <a:pt x="786" y="6884"/>
                      <a:pt x="502" y="7302"/>
                      <a:pt x="318" y="7786"/>
                    </a:cubicBezTo>
                    <a:cubicBezTo>
                      <a:pt x="1" y="8622"/>
                      <a:pt x="84" y="9541"/>
                      <a:pt x="536" y="10293"/>
                    </a:cubicBezTo>
                    <a:cubicBezTo>
                      <a:pt x="820" y="10811"/>
                      <a:pt x="1237" y="11212"/>
                      <a:pt x="1755" y="11496"/>
                    </a:cubicBezTo>
                    <a:cubicBezTo>
                      <a:pt x="1889" y="11579"/>
                      <a:pt x="2039" y="11629"/>
                      <a:pt x="2190" y="11679"/>
                    </a:cubicBezTo>
                    <a:cubicBezTo>
                      <a:pt x="2240" y="11696"/>
                      <a:pt x="2290" y="11713"/>
                      <a:pt x="2340" y="11713"/>
                    </a:cubicBezTo>
                    <a:cubicBezTo>
                      <a:pt x="2357" y="11696"/>
                      <a:pt x="2140" y="11646"/>
                      <a:pt x="1789" y="11429"/>
                    </a:cubicBezTo>
                    <a:cubicBezTo>
                      <a:pt x="1304" y="11145"/>
                      <a:pt x="903" y="10727"/>
                      <a:pt x="636" y="10226"/>
                    </a:cubicBezTo>
                    <a:cubicBezTo>
                      <a:pt x="218" y="9507"/>
                      <a:pt x="168" y="8622"/>
                      <a:pt x="469" y="7853"/>
                    </a:cubicBezTo>
                    <a:cubicBezTo>
                      <a:pt x="836" y="6884"/>
                      <a:pt x="1655" y="6182"/>
                      <a:pt x="2674" y="5965"/>
                    </a:cubicBezTo>
                    <a:cubicBezTo>
                      <a:pt x="2958" y="5915"/>
                      <a:pt x="3226" y="5798"/>
                      <a:pt x="3426" y="5597"/>
                    </a:cubicBezTo>
                    <a:cubicBezTo>
                      <a:pt x="3610" y="5364"/>
                      <a:pt x="3727" y="5096"/>
                      <a:pt x="3727" y="4812"/>
                    </a:cubicBezTo>
                    <a:cubicBezTo>
                      <a:pt x="3777" y="4261"/>
                      <a:pt x="3560" y="3776"/>
                      <a:pt x="3510" y="3325"/>
                    </a:cubicBezTo>
                    <a:cubicBezTo>
                      <a:pt x="3460" y="2891"/>
                      <a:pt x="3543" y="2440"/>
                      <a:pt x="3760" y="2055"/>
                    </a:cubicBezTo>
                    <a:cubicBezTo>
                      <a:pt x="3944" y="1721"/>
                      <a:pt x="4228" y="1454"/>
                      <a:pt x="4562" y="1270"/>
                    </a:cubicBezTo>
                    <a:cubicBezTo>
                      <a:pt x="4863" y="1086"/>
                      <a:pt x="5181" y="969"/>
                      <a:pt x="5431" y="852"/>
                    </a:cubicBezTo>
                    <a:cubicBezTo>
                      <a:pt x="5665" y="752"/>
                      <a:pt x="5882" y="635"/>
                      <a:pt x="6083" y="485"/>
                    </a:cubicBezTo>
                    <a:cubicBezTo>
                      <a:pt x="6200" y="384"/>
                      <a:pt x="6317" y="267"/>
                      <a:pt x="6400" y="134"/>
                    </a:cubicBezTo>
                    <a:cubicBezTo>
                      <a:pt x="6434" y="100"/>
                      <a:pt x="6467" y="50"/>
                      <a:pt x="6484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95" name="Google Shape;2195;p44"/>
              <p:cNvSpPr/>
              <p:nvPr/>
            </p:nvSpPr>
            <p:spPr>
              <a:xfrm>
                <a:off x="7203272" y="2032689"/>
                <a:ext cx="192813" cy="435399"/>
              </a:xfrm>
              <a:custGeom>
                <a:avLst/>
                <a:gdLst/>
                <a:ahLst/>
                <a:cxnLst/>
                <a:rect l="l" t="t" r="r" b="b"/>
                <a:pathLst>
                  <a:path w="6016" h="13585" extrusionOk="0">
                    <a:moveTo>
                      <a:pt x="17" y="1"/>
                    </a:moveTo>
                    <a:cubicBezTo>
                      <a:pt x="0" y="68"/>
                      <a:pt x="0" y="118"/>
                      <a:pt x="0" y="185"/>
                    </a:cubicBezTo>
                    <a:cubicBezTo>
                      <a:pt x="17" y="352"/>
                      <a:pt x="50" y="519"/>
                      <a:pt x="84" y="669"/>
                    </a:cubicBezTo>
                    <a:cubicBezTo>
                      <a:pt x="284" y="1271"/>
                      <a:pt x="618" y="1789"/>
                      <a:pt x="1086" y="2206"/>
                    </a:cubicBezTo>
                    <a:cubicBezTo>
                      <a:pt x="1637" y="2758"/>
                      <a:pt x="2439" y="3242"/>
                      <a:pt x="3208" y="3877"/>
                    </a:cubicBezTo>
                    <a:cubicBezTo>
                      <a:pt x="3609" y="4211"/>
                      <a:pt x="3960" y="4612"/>
                      <a:pt x="4211" y="5080"/>
                    </a:cubicBezTo>
                    <a:cubicBezTo>
                      <a:pt x="4478" y="5565"/>
                      <a:pt x="4578" y="6133"/>
                      <a:pt x="4461" y="6668"/>
                    </a:cubicBezTo>
                    <a:cubicBezTo>
                      <a:pt x="4328" y="7219"/>
                      <a:pt x="3943" y="7720"/>
                      <a:pt x="3977" y="8322"/>
                    </a:cubicBezTo>
                    <a:cubicBezTo>
                      <a:pt x="3993" y="8906"/>
                      <a:pt x="4328" y="9424"/>
                      <a:pt x="4829" y="9692"/>
                    </a:cubicBezTo>
                    <a:cubicBezTo>
                      <a:pt x="5046" y="9792"/>
                      <a:pt x="5247" y="9942"/>
                      <a:pt x="5430" y="10093"/>
                    </a:cubicBezTo>
                    <a:cubicBezTo>
                      <a:pt x="5581" y="10243"/>
                      <a:pt x="5698" y="10444"/>
                      <a:pt x="5764" y="10661"/>
                    </a:cubicBezTo>
                    <a:cubicBezTo>
                      <a:pt x="5865" y="11045"/>
                      <a:pt x="5848" y="11463"/>
                      <a:pt x="5698" y="11847"/>
                    </a:cubicBezTo>
                    <a:cubicBezTo>
                      <a:pt x="5447" y="12399"/>
                      <a:pt x="5046" y="12866"/>
                      <a:pt x="4545" y="13201"/>
                    </a:cubicBezTo>
                    <a:cubicBezTo>
                      <a:pt x="4194" y="13451"/>
                      <a:pt x="3993" y="13568"/>
                      <a:pt x="3993" y="13585"/>
                    </a:cubicBezTo>
                    <a:cubicBezTo>
                      <a:pt x="4060" y="13551"/>
                      <a:pt x="4110" y="13535"/>
                      <a:pt x="4160" y="13501"/>
                    </a:cubicBezTo>
                    <a:cubicBezTo>
                      <a:pt x="4261" y="13451"/>
                      <a:pt x="4394" y="13368"/>
                      <a:pt x="4578" y="13251"/>
                    </a:cubicBezTo>
                    <a:cubicBezTo>
                      <a:pt x="4812" y="13100"/>
                      <a:pt x="5013" y="12933"/>
                      <a:pt x="5196" y="12749"/>
                    </a:cubicBezTo>
                    <a:cubicBezTo>
                      <a:pt x="5464" y="12516"/>
                      <a:pt x="5664" y="12215"/>
                      <a:pt x="5815" y="11897"/>
                    </a:cubicBezTo>
                    <a:cubicBezTo>
                      <a:pt x="5982" y="11496"/>
                      <a:pt x="6015" y="11045"/>
                      <a:pt x="5898" y="10611"/>
                    </a:cubicBezTo>
                    <a:cubicBezTo>
                      <a:pt x="5831" y="10377"/>
                      <a:pt x="5714" y="10160"/>
                      <a:pt x="5531" y="9976"/>
                    </a:cubicBezTo>
                    <a:cubicBezTo>
                      <a:pt x="5347" y="9809"/>
                      <a:pt x="5130" y="9675"/>
                      <a:pt x="4912" y="9558"/>
                    </a:cubicBezTo>
                    <a:cubicBezTo>
                      <a:pt x="4461" y="9307"/>
                      <a:pt x="4160" y="8840"/>
                      <a:pt x="4144" y="8322"/>
                    </a:cubicBezTo>
                    <a:cubicBezTo>
                      <a:pt x="4110" y="7787"/>
                      <a:pt x="4478" y="7302"/>
                      <a:pt x="4628" y="6718"/>
                    </a:cubicBezTo>
                    <a:cubicBezTo>
                      <a:pt x="4762" y="6133"/>
                      <a:pt x="4662" y="5515"/>
                      <a:pt x="4361" y="4997"/>
                    </a:cubicBezTo>
                    <a:cubicBezTo>
                      <a:pt x="4094" y="4529"/>
                      <a:pt x="3743" y="4094"/>
                      <a:pt x="3308" y="3760"/>
                    </a:cubicBezTo>
                    <a:cubicBezTo>
                      <a:pt x="2523" y="3109"/>
                      <a:pt x="1721" y="2657"/>
                      <a:pt x="1170" y="2123"/>
                    </a:cubicBezTo>
                    <a:cubicBezTo>
                      <a:pt x="718" y="1722"/>
                      <a:pt x="368" y="1221"/>
                      <a:pt x="150" y="652"/>
                    </a:cubicBezTo>
                    <a:cubicBezTo>
                      <a:pt x="84" y="435"/>
                      <a:pt x="50" y="218"/>
                      <a:pt x="1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96" name="Google Shape;2196;p44"/>
              <p:cNvSpPr/>
              <p:nvPr/>
            </p:nvSpPr>
            <p:spPr>
              <a:xfrm>
                <a:off x="6937097" y="2036792"/>
                <a:ext cx="30576" cy="87497"/>
              </a:xfrm>
              <a:custGeom>
                <a:avLst/>
                <a:gdLst/>
                <a:ahLst/>
                <a:cxnLst/>
                <a:rect l="l" t="t" r="r" b="b"/>
                <a:pathLst>
                  <a:path w="954" h="2730" extrusionOk="0">
                    <a:moveTo>
                      <a:pt x="779" y="1"/>
                    </a:moveTo>
                    <a:cubicBezTo>
                      <a:pt x="679" y="1"/>
                      <a:pt x="596" y="102"/>
                      <a:pt x="552" y="190"/>
                    </a:cubicBezTo>
                    <a:cubicBezTo>
                      <a:pt x="135" y="976"/>
                      <a:pt x="1" y="1861"/>
                      <a:pt x="135" y="2730"/>
                    </a:cubicBezTo>
                    <a:lnTo>
                      <a:pt x="218" y="2663"/>
                    </a:lnTo>
                    <a:lnTo>
                      <a:pt x="135" y="2613"/>
                    </a:lnTo>
                    <a:cubicBezTo>
                      <a:pt x="469" y="2346"/>
                      <a:pt x="686" y="1961"/>
                      <a:pt x="786" y="1560"/>
                    </a:cubicBezTo>
                    <a:cubicBezTo>
                      <a:pt x="886" y="1143"/>
                      <a:pt x="937" y="725"/>
                      <a:pt x="937" y="307"/>
                    </a:cubicBezTo>
                    <a:cubicBezTo>
                      <a:pt x="953" y="190"/>
                      <a:pt x="937" y="23"/>
                      <a:pt x="820" y="7"/>
                    </a:cubicBezTo>
                    <a:cubicBezTo>
                      <a:pt x="806" y="3"/>
                      <a:pt x="792" y="1"/>
                      <a:pt x="779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97" name="Google Shape;2197;p44"/>
              <p:cNvSpPr/>
              <p:nvPr/>
            </p:nvSpPr>
            <p:spPr>
              <a:xfrm>
                <a:off x="6655441" y="2453378"/>
                <a:ext cx="856825" cy="895092"/>
              </a:xfrm>
              <a:custGeom>
                <a:avLst/>
                <a:gdLst/>
                <a:ahLst/>
                <a:cxnLst/>
                <a:rect l="l" t="t" r="r" b="b"/>
                <a:pathLst>
                  <a:path w="26734" h="27928" extrusionOk="0">
                    <a:moveTo>
                      <a:pt x="11462" y="0"/>
                    </a:moveTo>
                    <a:cubicBezTo>
                      <a:pt x="10160" y="0"/>
                      <a:pt x="7551" y="281"/>
                      <a:pt x="5748" y="2314"/>
                    </a:cubicBezTo>
                    <a:cubicBezTo>
                      <a:pt x="3175" y="5221"/>
                      <a:pt x="0" y="8646"/>
                      <a:pt x="0" y="8646"/>
                    </a:cubicBezTo>
                    <a:lnTo>
                      <a:pt x="2423" y="14728"/>
                    </a:lnTo>
                    <a:lnTo>
                      <a:pt x="8137" y="10016"/>
                    </a:lnTo>
                    <a:lnTo>
                      <a:pt x="8137" y="10016"/>
                    </a:lnTo>
                    <a:cubicBezTo>
                      <a:pt x="7669" y="10852"/>
                      <a:pt x="7402" y="11787"/>
                      <a:pt x="7385" y="12756"/>
                    </a:cubicBezTo>
                    <a:cubicBezTo>
                      <a:pt x="7385" y="14360"/>
                      <a:pt x="9056" y="15112"/>
                      <a:pt x="9056" y="15112"/>
                    </a:cubicBezTo>
                    <a:lnTo>
                      <a:pt x="9574" y="20008"/>
                    </a:lnTo>
                    <a:lnTo>
                      <a:pt x="7870" y="27928"/>
                    </a:lnTo>
                    <a:lnTo>
                      <a:pt x="25631" y="27209"/>
                    </a:lnTo>
                    <a:cubicBezTo>
                      <a:pt x="25330" y="24569"/>
                      <a:pt x="24445" y="22013"/>
                      <a:pt x="23008" y="19757"/>
                    </a:cubicBezTo>
                    <a:lnTo>
                      <a:pt x="23342" y="11470"/>
                    </a:lnTo>
                    <a:lnTo>
                      <a:pt x="26734" y="11470"/>
                    </a:lnTo>
                    <a:lnTo>
                      <a:pt x="25531" y="5421"/>
                    </a:lnTo>
                    <a:cubicBezTo>
                      <a:pt x="24645" y="476"/>
                      <a:pt x="17711" y="141"/>
                      <a:pt x="17711" y="141"/>
                    </a:cubicBezTo>
                    <a:lnTo>
                      <a:pt x="12264" y="41"/>
                    </a:lnTo>
                    <a:cubicBezTo>
                      <a:pt x="12264" y="41"/>
                      <a:pt x="11958" y="0"/>
                      <a:pt x="11462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98" name="Google Shape;2198;p44"/>
              <p:cNvSpPr/>
              <p:nvPr/>
            </p:nvSpPr>
            <p:spPr>
              <a:xfrm>
                <a:off x="7267532" y="2603564"/>
                <a:ext cx="57850" cy="318096"/>
              </a:xfrm>
              <a:custGeom>
                <a:avLst/>
                <a:gdLst/>
                <a:ahLst/>
                <a:cxnLst/>
                <a:rect l="l" t="t" r="r" b="b"/>
                <a:pathLst>
                  <a:path w="1805" h="9925" extrusionOk="0">
                    <a:moveTo>
                      <a:pt x="17" y="0"/>
                    </a:moveTo>
                    <a:cubicBezTo>
                      <a:pt x="0" y="134"/>
                      <a:pt x="17" y="267"/>
                      <a:pt x="33" y="401"/>
                    </a:cubicBezTo>
                    <a:cubicBezTo>
                      <a:pt x="67" y="652"/>
                      <a:pt x="117" y="1019"/>
                      <a:pt x="184" y="1470"/>
                    </a:cubicBezTo>
                    <a:cubicBezTo>
                      <a:pt x="334" y="2373"/>
                      <a:pt x="551" y="3626"/>
                      <a:pt x="819" y="4979"/>
                    </a:cubicBezTo>
                    <a:lnTo>
                      <a:pt x="1487" y="8488"/>
                    </a:lnTo>
                    <a:lnTo>
                      <a:pt x="1704" y="9541"/>
                    </a:lnTo>
                    <a:cubicBezTo>
                      <a:pt x="1721" y="9674"/>
                      <a:pt x="1754" y="9808"/>
                      <a:pt x="1788" y="9925"/>
                    </a:cubicBezTo>
                    <a:cubicBezTo>
                      <a:pt x="1805" y="9791"/>
                      <a:pt x="1788" y="9658"/>
                      <a:pt x="1771" y="9541"/>
                    </a:cubicBezTo>
                    <a:cubicBezTo>
                      <a:pt x="1738" y="9273"/>
                      <a:pt x="1688" y="8922"/>
                      <a:pt x="1621" y="8471"/>
                    </a:cubicBezTo>
                    <a:cubicBezTo>
                      <a:pt x="1470" y="7569"/>
                      <a:pt x="1253" y="6316"/>
                      <a:pt x="986" y="4946"/>
                    </a:cubicBezTo>
                    <a:lnTo>
                      <a:pt x="318" y="1454"/>
                    </a:lnTo>
                    <a:lnTo>
                      <a:pt x="100" y="401"/>
                    </a:lnTo>
                    <a:cubicBezTo>
                      <a:pt x="84" y="267"/>
                      <a:pt x="50" y="134"/>
                      <a:pt x="17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99" name="Google Shape;2199;p44"/>
              <p:cNvSpPr/>
              <p:nvPr/>
            </p:nvSpPr>
            <p:spPr>
              <a:xfrm>
                <a:off x="7304999" y="2808107"/>
                <a:ext cx="209960" cy="5929"/>
              </a:xfrm>
              <a:custGeom>
                <a:avLst/>
                <a:gdLst/>
                <a:ahLst/>
                <a:cxnLst/>
                <a:rect l="l" t="t" r="r" b="b"/>
                <a:pathLst>
                  <a:path w="6551" h="185" extrusionOk="0">
                    <a:moveTo>
                      <a:pt x="3276" y="1"/>
                    </a:moveTo>
                    <a:cubicBezTo>
                      <a:pt x="1454" y="17"/>
                      <a:pt x="1" y="51"/>
                      <a:pt x="1" y="101"/>
                    </a:cubicBezTo>
                    <a:cubicBezTo>
                      <a:pt x="1" y="151"/>
                      <a:pt x="1454" y="185"/>
                      <a:pt x="3276" y="185"/>
                    </a:cubicBezTo>
                    <a:cubicBezTo>
                      <a:pt x="5097" y="168"/>
                      <a:pt x="6550" y="134"/>
                      <a:pt x="6550" y="84"/>
                    </a:cubicBezTo>
                    <a:cubicBezTo>
                      <a:pt x="6550" y="34"/>
                      <a:pt x="5080" y="1"/>
                      <a:pt x="3276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00" name="Google Shape;2200;p44"/>
              <p:cNvSpPr/>
              <p:nvPr/>
            </p:nvSpPr>
            <p:spPr>
              <a:xfrm>
                <a:off x="6603488" y="2814004"/>
                <a:ext cx="975185" cy="343961"/>
              </a:xfrm>
              <a:custGeom>
                <a:avLst/>
                <a:gdLst/>
                <a:ahLst/>
                <a:cxnLst/>
                <a:rect l="l" t="t" r="r" b="b"/>
                <a:pathLst>
                  <a:path w="30427" h="10732" extrusionOk="0">
                    <a:moveTo>
                      <a:pt x="22006" y="1"/>
                    </a:moveTo>
                    <a:cubicBezTo>
                      <a:pt x="22006" y="1"/>
                      <a:pt x="22791" y="3676"/>
                      <a:pt x="22624" y="4529"/>
                    </a:cubicBezTo>
                    <a:cubicBezTo>
                      <a:pt x="22473" y="5280"/>
                      <a:pt x="10276" y="5765"/>
                      <a:pt x="7102" y="5815"/>
                    </a:cubicBezTo>
                    <a:cubicBezTo>
                      <a:pt x="7055" y="5781"/>
                      <a:pt x="7002" y="5771"/>
                      <a:pt x="6945" y="5771"/>
                    </a:cubicBezTo>
                    <a:cubicBezTo>
                      <a:pt x="6856" y="5771"/>
                      <a:pt x="6758" y="5796"/>
                      <a:pt x="6657" y="5796"/>
                    </a:cubicBezTo>
                    <a:cubicBezTo>
                      <a:pt x="6565" y="5796"/>
                      <a:pt x="6472" y="5775"/>
                      <a:pt x="6383" y="5698"/>
                    </a:cubicBezTo>
                    <a:cubicBezTo>
                      <a:pt x="6166" y="5514"/>
                      <a:pt x="5999" y="5280"/>
                      <a:pt x="5848" y="5030"/>
                    </a:cubicBezTo>
                    <a:cubicBezTo>
                      <a:pt x="5665" y="4729"/>
                      <a:pt x="5514" y="4395"/>
                      <a:pt x="5414" y="4044"/>
                    </a:cubicBezTo>
                    <a:cubicBezTo>
                      <a:pt x="5374" y="3856"/>
                      <a:pt x="5218" y="3750"/>
                      <a:pt x="5069" y="3750"/>
                    </a:cubicBezTo>
                    <a:cubicBezTo>
                      <a:pt x="4966" y="3750"/>
                      <a:pt x="4867" y="3801"/>
                      <a:pt x="4812" y="3910"/>
                    </a:cubicBezTo>
                    <a:cubicBezTo>
                      <a:pt x="4679" y="4178"/>
                      <a:pt x="4829" y="5097"/>
                      <a:pt x="5431" y="5966"/>
                    </a:cubicBezTo>
                    <a:cubicBezTo>
                      <a:pt x="5706" y="6363"/>
                      <a:pt x="5523" y="6484"/>
                      <a:pt x="5188" y="6484"/>
                    </a:cubicBezTo>
                    <a:cubicBezTo>
                      <a:pt x="4793" y="6484"/>
                      <a:pt x="4185" y="6314"/>
                      <a:pt x="3877" y="6233"/>
                    </a:cubicBezTo>
                    <a:cubicBezTo>
                      <a:pt x="3382" y="6106"/>
                      <a:pt x="2001" y="5799"/>
                      <a:pt x="1477" y="5799"/>
                    </a:cubicBezTo>
                    <a:cubicBezTo>
                      <a:pt x="1382" y="5799"/>
                      <a:pt x="1315" y="5809"/>
                      <a:pt x="1287" y="5832"/>
                    </a:cubicBezTo>
                    <a:cubicBezTo>
                      <a:pt x="1020" y="6049"/>
                      <a:pt x="1187" y="6383"/>
                      <a:pt x="1772" y="6517"/>
                    </a:cubicBezTo>
                    <a:cubicBezTo>
                      <a:pt x="2356" y="6667"/>
                      <a:pt x="4077" y="7219"/>
                      <a:pt x="3977" y="7519"/>
                    </a:cubicBezTo>
                    <a:cubicBezTo>
                      <a:pt x="3961" y="7570"/>
                      <a:pt x="3873" y="7591"/>
                      <a:pt x="3736" y="7591"/>
                    </a:cubicBezTo>
                    <a:cubicBezTo>
                      <a:pt x="3018" y="7591"/>
                      <a:pt x="953" y="7001"/>
                      <a:pt x="953" y="7001"/>
                    </a:cubicBezTo>
                    <a:cubicBezTo>
                      <a:pt x="953" y="7001"/>
                      <a:pt x="723" y="6893"/>
                      <a:pt x="516" y="6893"/>
                    </a:cubicBezTo>
                    <a:cubicBezTo>
                      <a:pt x="388" y="6893"/>
                      <a:pt x="269" y="6934"/>
                      <a:pt x="218" y="7068"/>
                    </a:cubicBezTo>
                    <a:cubicBezTo>
                      <a:pt x="0" y="7703"/>
                      <a:pt x="3192" y="8355"/>
                      <a:pt x="3493" y="8405"/>
                    </a:cubicBezTo>
                    <a:cubicBezTo>
                      <a:pt x="3695" y="8452"/>
                      <a:pt x="3636" y="8744"/>
                      <a:pt x="3439" y="8744"/>
                    </a:cubicBezTo>
                    <a:cubicBezTo>
                      <a:pt x="3424" y="8744"/>
                      <a:pt x="3408" y="8743"/>
                      <a:pt x="3392" y="8739"/>
                    </a:cubicBezTo>
                    <a:cubicBezTo>
                      <a:pt x="3223" y="8703"/>
                      <a:pt x="1768" y="8244"/>
                      <a:pt x="894" y="8244"/>
                    </a:cubicBezTo>
                    <a:cubicBezTo>
                      <a:pt x="563" y="8244"/>
                      <a:pt x="315" y="8310"/>
                      <a:pt x="251" y="8488"/>
                    </a:cubicBezTo>
                    <a:cubicBezTo>
                      <a:pt x="84" y="8990"/>
                      <a:pt x="2874" y="9040"/>
                      <a:pt x="3342" y="9541"/>
                    </a:cubicBezTo>
                    <a:cubicBezTo>
                      <a:pt x="3463" y="9671"/>
                      <a:pt x="3367" y="9712"/>
                      <a:pt x="3159" y="9712"/>
                    </a:cubicBezTo>
                    <a:cubicBezTo>
                      <a:pt x="2798" y="9712"/>
                      <a:pt x="2098" y="9588"/>
                      <a:pt x="1606" y="9588"/>
                    </a:cubicBezTo>
                    <a:cubicBezTo>
                      <a:pt x="1324" y="9588"/>
                      <a:pt x="1110" y="9629"/>
                      <a:pt x="1070" y="9758"/>
                    </a:cubicBezTo>
                    <a:cubicBezTo>
                      <a:pt x="1020" y="9925"/>
                      <a:pt x="2089" y="10009"/>
                      <a:pt x="3626" y="10226"/>
                    </a:cubicBezTo>
                    <a:cubicBezTo>
                      <a:pt x="4677" y="10371"/>
                      <a:pt x="6364" y="10403"/>
                      <a:pt x="7459" y="10403"/>
                    </a:cubicBezTo>
                    <a:cubicBezTo>
                      <a:pt x="7879" y="10403"/>
                      <a:pt x="8212" y="10398"/>
                      <a:pt x="8388" y="10393"/>
                    </a:cubicBezTo>
                    <a:cubicBezTo>
                      <a:pt x="11070" y="10544"/>
                      <a:pt x="18836" y="10732"/>
                      <a:pt x="23694" y="10732"/>
                    </a:cubicBezTo>
                    <a:cubicBezTo>
                      <a:pt x="25313" y="10732"/>
                      <a:pt x="26609" y="10711"/>
                      <a:pt x="27286" y="10661"/>
                    </a:cubicBezTo>
                    <a:cubicBezTo>
                      <a:pt x="30427" y="10443"/>
                      <a:pt x="29240" y="6367"/>
                      <a:pt x="29123" y="5381"/>
                    </a:cubicBezTo>
                    <a:cubicBezTo>
                      <a:pt x="28773" y="2473"/>
                      <a:pt x="28305" y="1"/>
                      <a:pt x="28305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01" name="Google Shape;2201;p44"/>
              <p:cNvSpPr/>
              <p:nvPr/>
            </p:nvSpPr>
            <p:spPr>
              <a:xfrm>
                <a:off x="6896393" y="2649075"/>
                <a:ext cx="32178" cy="177269"/>
              </a:xfrm>
              <a:custGeom>
                <a:avLst/>
                <a:gdLst/>
                <a:ahLst/>
                <a:cxnLst/>
                <a:rect l="l" t="t" r="r" b="b"/>
                <a:pathLst>
                  <a:path w="1004" h="5531" extrusionOk="0">
                    <a:moveTo>
                      <a:pt x="385" y="0"/>
                    </a:moveTo>
                    <a:cubicBezTo>
                      <a:pt x="385" y="268"/>
                      <a:pt x="419" y="552"/>
                      <a:pt x="486" y="836"/>
                    </a:cubicBezTo>
                    <a:lnTo>
                      <a:pt x="636" y="1738"/>
                    </a:lnTo>
                    <a:lnTo>
                      <a:pt x="736" y="2256"/>
                    </a:lnTo>
                    <a:cubicBezTo>
                      <a:pt x="786" y="2440"/>
                      <a:pt x="820" y="2640"/>
                      <a:pt x="820" y="2824"/>
                    </a:cubicBezTo>
                    <a:cubicBezTo>
                      <a:pt x="836" y="2908"/>
                      <a:pt x="820" y="2991"/>
                      <a:pt x="786" y="3075"/>
                    </a:cubicBezTo>
                    <a:cubicBezTo>
                      <a:pt x="770" y="3158"/>
                      <a:pt x="719" y="3242"/>
                      <a:pt x="686" y="3342"/>
                    </a:cubicBezTo>
                    <a:cubicBezTo>
                      <a:pt x="603" y="3509"/>
                      <a:pt x="536" y="3676"/>
                      <a:pt x="486" y="3843"/>
                    </a:cubicBezTo>
                    <a:cubicBezTo>
                      <a:pt x="369" y="4177"/>
                      <a:pt x="285" y="4462"/>
                      <a:pt x="202" y="4712"/>
                    </a:cubicBezTo>
                    <a:cubicBezTo>
                      <a:pt x="118" y="4979"/>
                      <a:pt x="34" y="5247"/>
                      <a:pt x="1" y="5531"/>
                    </a:cubicBezTo>
                    <a:cubicBezTo>
                      <a:pt x="135" y="5280"/>
                      <a:pt x="252" y="5030"/>
                      <a:pt x="318" y="4762"/>
                    </a:cubicBezTo>
                    <a:lnTo>
                      <a:pt x="636" y="3893"/>
                    </a:lnTo>
                    <a:cubicBezTo>
                      <a:pt x="703" y="3743"/>
                      <a:pt x="770" y="3576"/>
                      <a:pt x="836" y="3409"/>
                    </a:cubicBezTo>
                    <a:cubicBezTo>
                      <a:pt x="870" y="3325"/>
                      <a:pt x="920" y="3242"/>
                      <a:pt x="953" y="3142"/>
                    </a:cubicBezTo>
                    <a:cubicBezTo>
                      <a:pt x="987" y="3025"/>
                      <a:pt x="1004" y="2924"/>
                      <a:pt x="1004" y="2824"/>
                    </a:cubicBezTo>
                    <a:cubicBezTo>
                      <a:pt x="987" y="2624"/>
                      <a:pt x="953" y="2423"/>
                      <a:pt x="903" y="2223"/>
                    </a:cubicBezTo>
                    <a:lnTo>
                      <a:pt x="803" y="1705"/>
                    </a:lnTo>
                    <a:lnTo>
                      <a:pt x="603" y="802"/>
                    </a:lnTo>
                    <a:cubicBezTo>
                      <a:pt x="569" y="535"/>
                      <a:pt x="486" y="251"/>
                      <a:pt x="385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02" name="Google Shape;2202;p44"/>
              <p:cNvSpPr/>
              <p:nvPr/>
            </p:nvSpPr>
            <p:spPr>
              <a:xfrm>
                <a:off x="7119717" y="2091084"/>
                <a:ext cx="204062" cy="423829"/>
              </a:xfrm>
              <a:custGeom>
                <a:avLst/>
                <a:gdLst/>
                <a:ahLst/>
                <a:cxnLst/>
                <a:rect l="l" t="t" r="r" b="b"/>
                <a:pathLst>
                  <a:path w="6367" h="13224" extrusionOk="0">
                    <a:moveTo>
                      <a:pt x="351" y="0"/>
                    </a:moveTo>
                    <a:lnTo>
                      <a:pt x="351" y="0"/>
                    </a:lnTo>
                    <a:cubicBezTo>
                      <a:pt x="836" y="618"/>
                      <a:pt x="1354" y="1337"/>
                      <a:pt x="1270" y="2122"/>
                    </a:cubicBezTo>
                    <a:cubicBezTo>
                      <a:pt x="1187" y="2807"/>
                      <a:pt x="635" y="3425"/>
                      <a:pt x="719" y="4110"/>
                    </a:cubicBezTo>
                    <a:cubicBezTo>
                      <a:pt x="836" y="4896"/>
                      <a:pt x="1738" y="5414"/>
                      <a:pt x="1788" y="6216"/>
                    </a:cubicBezTo>
                    <a:cubicBezTo>
                      <a:pt x="1822" y="6867"/>
                      <a:pt x="1254" y="7385"/>
                      <a:pt x="853" y="7903"/>
                    </a:cubicBezTo>
                    <a:cubicBezTo>
                      <a:pt x="268" y="8672"/>
                      <a:pt x="0" y="9641"/>
                      <a:pt x="117" y="10593"/>
                    </a:cubicBezTo>
                    <a:cubicBezTo>
                      <a:pt x="251" y="11546"/>
                      <a:pt x="819" y="12398"/>
                      <a:pt x="1655" y="12882"/>
                    </a:cubicBezTo>
                    <a:cubicBezTo>
                      <a:pt x="2069" y="13110"/>
                      <a:pt x="2528" y="13223"/>
                      <a:pt x="2987" y="13223"/>
                    </a:cubicBezTo>
                    <a:cubicBezTo>
                      <a:pt x="3472" y="13223"/>
                      <a:pt x="3958" y="13098"/>
                      <a:pt x="4395" y="12849"/>
                    </a:cubicBezTo>
                    <a:cubicBezTo>
                      <a:pt x="5147" y="12398"/>
                      <a:pt x="5598" y="11579"/>
                      <a:pt x="5899" y="10744"/>
                    </a:cubicBezTo>
                    <a:cubicBezTo>
                      <a:pt x="6266" y="9658"/>
                      <a:pt x="6366" y="8371"/>
                      <a:pt x="5732" y="7435"/>
                    </a:cubicBezTo>
                    <a:cubicBezTo>
                      <a:pt x="5464" y="7051"/>
                      <a:pt x="5080" y="6717"/>
                      <a:pt x="4996" y="6266"/>
                    </a:cubicBezTo>
                    <a:cubicBezTo>
                      <a:pt x="4896" y="5681"/>
                      <a:pt x="5297" y="5130"/>
                      <a:pt x="5364" y="4545"/>
                    </a:cubicBezTo>
                    <a:cubicBezTo>
                      <a:pt x="5464" y="3759"/>
                      <a:pt x="4913" y="3041"/>
                      <a:pt x="4311" y="2540"/>
                    </a:cubicBezTo>
                    <a:cubicBezTo>
                      <a:pt x="3710" y="2022"/>
                      <a:pt x="3008" y="1604"/>
                      <a:pt x="2557" y="952"/>
                    </a:cubicBezTo>
                    <a:lnTo>
                      <a:pt x="351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03" name="Google Shape;2203;p44"/>
              <p:cNvSpPr/>
              <p:nvPr/>
            </p:nvSpPr>
            <p:spPr>
              <a:xfrm>
                <a:off x="7274487" y="2656030"/>
                <a:ext cx="59453" cy="315981"/>
              </a:xfrm>
              <a:custGeom>
                <a:avLst/>
                <a:gdLst/>
                <a:ahLst/>
                <a:cxnLst/>
                <a:rect l="l" t="t" r="r" b="b"/>
                <a:pathLst>
                  <a:path w="1855" h="9859" extrusionOk="0">
                    <a:moveTo>
                      <a:pt x="0" y="1"/>
                    </a:moveTo>
                    <a:lnTo>
                      <a:pt x="0" y="1"/>
                    </a:lnTo>
                    <a:cubicBezTo>
                      <a:pt x="217" y="3376"/>
                      <a:pt x="351" y="6483"/>
                      <a:pt x="418" y="9859"/>
                    </a:cubicBezTo>
                    <a:cubicBezTo>
                      <a:pt x="919" y="9808"/>
                      <a:pt x="1387" y="9708"/>
                      <a:pt x="1688" y="9458"/>
                    </a:cubicBezTo>
                    <a:cubicBezTo>
                      <a:pt x="1855" y="8021"/>
                      <a:pt x="769" y="3643"/>
                      <a:pt x="0" y="1"/>
                    </a:cubicBezTo>
                    <a:close/>
                  </a:path>
                </a:pathLst>
              </a:custGeom>
              <a:solidFill>
                <a:schemeClr val="dk2">
                  <a:alpha val="32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04" name="Google Shape;2204;p44"/>
              <p:cNvSpPr/>
              <p:nvPr/>
            </p:nvSpPr>
            <p:spPr>
              <a:xfrm>
                <a:off x="7009946" y="2560104"/>
                <a:ext cx="16634" cy="46697"/>
              </a:xfrm>
              <a:custGeom>
                <a:avLst/>
                <a:gdLst/>
                <a:ahLst/>
                <a:cxnLst/>
                <a:rect l="l" t="t" r="r" b="b"/>
                <a:pathLst>
                  <a:path w="519" h="1457" extrusionOk="0">
                    <a:moveTo>
                      <a:pt x="462" y="0"/>
                    </a:moveTo>
                    <a:cubicBezTo>
                      <a:pt x="416" y="0"/>
                      <a:pt x="245" y="291"/>
                      <a:pt x="134" y="688"/>
                    </a:cubicBezTo>
                    <a:cubicBezTo>
                      <a:pt x="17" y="1089"/>
                      <a:pt x="0" y="1440"/>
                      <a:pt x="50" y="1456"/>
                    </a:cubicBezTo>
                    <a:cubicBezTo>
                      <a:pt x="100" y="1456"/>
                      <a:pt x="184" y="1139"/>
                      <a:pt x="301" y="738"/>
                    </a:cubicBezTo>
                    <a:cubicBezTo>
                      <a:pt x="418" y="337"/>
                      <a:pt x="518" y="19"/>
                      <a:pt x="468" y="3"/>
                    </a:cubicBezTo>
                    <a:cubicBezTo>
                      <a:pt x="466" y="1"/>
                      <a:pt x="464" y="0"/>
                      <a:pt x="46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05" name="Google Shape;2205;p44"/>
              <p:cNvSpPr/>
              <p:nvPr/>
            </p:nvSpPr>
            <p:spPr>
              <a:xfrm>
                <a:off x="6869086" y="2581033"/>
                <a:ext cx="28973" cy="25416"/>
              </a:xfrm>
              <a:custGeom>
                <a:avLst/>
                <a:gdLst/>
                <a:ahLst/>
                <a:cxnLst/>
                <a:rect l="l" t="t" r="r" b="b"/>
                <a:pathLst>
                  <a:path w="904" h="793" extrusionOk="0">
                    <a:moveTo>
                      <a:pt x="57" y="0"/>
                    </a:moveTo>
                    <a:cubicBezTo>
                      <a:pt x="54" y="0"/>
                      <a:pt x="53" y="1"/>
                      <a:pt x="51" y="1"/>
                    </a:cubicBezTo>
                    <a:cubicBezTo>
                      <a:pt x="1" y="35"/>
                      <a:pt x="135" y="269"/>
                      <a:pt x="368" y="486"/>
                    </a:cubicBezTo>
                    <a:cubicBezTo>
                      <a:pt x="576" y="679"/>
                      <a:pt x="783" y="792"/>
                      <a:pt x="851" y="792"/>
                    </a:cubicBezTo>
                    <a:cubicBezTo>
                      <a:pt x="860" y="792"/>
                      <a:pt x="866" y="790"/>
                      <a:pt x="870" y="787"/>
                    </a:cubicBezTo>
                    <a:cubicBezTo>
                      <a:pt x="903" y="753"/>
                      <a:pt x="719" y="569"/>
                      <a:pt x="485" y="352"/>
                    </a:cubicBezTo>
                    <a:cubicBezTo>
                      <a:pt x="278" y="161"/>
                      <a:pt x="102" y="0"/>
                      <a:pt x="57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06" name="Google Shape;2206;p44"/>
              <p:cNvSpPr/>
              <p:nvPr/>
            </p:nvSpPr>
            <p:spPr>
              <a:xfrm>
                <a:off x="6873381" y="2706348"/>
                <a:ext cx="15576" cy="39165"/>
              </a:xfrm>
              <a:custGeom>
                <a:avLst/>
                <a:gdLst/>
                <a:ahLst/>
                <a:cxnLst/>
                <a:rect l="l" t="t" r="r" b="b"/>
                <a:pathLst>
                  <a:path w="486" h="1222" extrusionOk="0">
                    <a:moveTo>
                      <a:pt x="431" y="0"/>
                    </a:moveTo>
                    <a:cubicBezTo>
                      <a:pt x="391" y="0"/>
                      <a:pt x="231" y="246"/>
                      <a:pt x="117" y="586"/>
                    </a:cubicBezTo>
                    <a:cubicBezTo>
                      <a:pt x="17" y="920"/>
                      <a:pt x="1" y="1221"/>
                      <a:pt x="51" y="1221"/>
                    </a:cubicBezTo>
                    <a:cubicBezTo>
                      <a:pt x="52" y="1221"/>
                      <a:pt x="54" y="1222"/>
                      <a:pt x="55" y="1222"/>
                    </a:cubicBezTo>
                    <a:cubicBezTo>
                      <a:pt x="106" y="1222"/>
                      <a:pt x="188" y="960"/>
                      <a:pt x="301" y="636"/>
                    </a:cubicBezTo>
                    <a:cubicBezTo>
                      <a:pt x="402" y="302"/>
                      <a:pt x="485" y="18"/>
                      <a:pt x="435" y="1"/>
                    </a:cubicBezTo>
                    <a:cubicBezTo>
                      <a:pt x="434" y="1"/>
                      <a:pt x="433" y="0"/>
                      <a:pt x="431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07" name="Google Shape;2207;p44"/>
              <p:cNvSpPr/>
              <p:nvPr/>
            </p:nvSpPr>
            <p:spPr>
              <a:xfrm>
                <a:off x="6936039" y="2498376"/>
                <a:ext cx="36441" cy="5737"/>
              </a:xfrm>
              <a:custGeom>
                <a:avLst/>
                <a:gdLst/>
                <a:ahLst/>
                <a:cxnLst/>
                <a:rect l="l" t="t" r="r" b="b"/>
                <a:pathLst>
                  <a:path w="1137" h="179" extrusionOk="0">
                    <a:moveTo>
                      <a:pt x="791" y="1"/>
                    </a:moveTo>
                    <a:cubicBezTo>
                      <a:pt x="723" y="1"/>
                      <a:pt x="648" y="3"/>
                      <a:pt x="569" y="7"/>
                    </a:cubicBezTo>
                    <a:cubicBezTo>
                      <a:pt x="251" y="7"/>
                      <a:pt x="0" y="57"/>
                      <a:pt x="0" y="107"/>
                    </a:cubicBezTo>
                    <a:cubicBezTo>
                      <a:pt x="0" y="149"/>
                      <a:pt x="170" y="179"/>
                      <a:pt x="407" y="179"/>
                    </a:cubicBezTo>
                    <a:cubicBezTo>
                      <a:pt x="458" y="179"/>
                      <a:pt x="512" y="177"/>
                      <a:pt x="569" y="174"/>
                    </a:cubicBezTo>
                    <a:cubicBezTo>
                      <a:pt x="886" y="158"/>
                      <a:pt x="1137" y="107"/>
                      <a:pt x="1137" y="57"/>
                    </a:cubicBezTo>
                    <a:cubicBezTo>
                      <a:pt x="1137" y="20"/>
                      <a:pt x="996" y="1"/>
                      <a:pt x="791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08" name="Google Shape;2208;p44"/>
              <p:cNvSpPr/>
              <p:nvPr/>
            </p:nvSpPr>
            <p:spPr>
              <a:xfrm>
                <a:off x="6970845" y="2670484"/>
                <a:ext cx="22531" cy="40319"/>
              </a:xfrm>
              <a:custGeom>
                <a:avLst/>
                <a:gdLst/>
                <a:ahLst/>
                <a:cxnLst/>
                <a:rect l="l" t="t" r="r" b="b"/>
                <a:pathLst>
                  <a:path w="703" h="1258" extrusionOk="0">
                    <a:moveTo>
                      <a:pt x="51" y="1"/>
                    </a:moveTo>
                    <a:lnTo>
                      <a:pt x="51" y="1"/>
                    </a:lnTo>
                    <a:cubicBezTo>
                      <a:pt x="17" y="17"/>
                      <a:pt x="0" y="352"/>
                      <a:pt x="184" y="719"/>
                    </a:cubicBezTo>
                    <a:cubicBezTo>
                      <a:pt x="355" y="1060"/>
                      <a:pt x="612" y="1257"/>
                      <a:pt x="661" y="1257"/>
                    </a:cubicBezTo>
                    <a:cubicBezTo>
                      <a:pt x="665" y="1257"/>
                      <a:pt x="668" y="1256"/>
                      <a:pt x="669" y="1254"/>
                    </a:cubicBezTo>
                    <a:cubicBezTo>
                      <a:pt x="702" y="1220"/>
                      <a:pt x="518" y="986"/>
                      <a:pt x="351" y="636"/>
                    </a:cubicBezTo>
                    <a:cubicBezTo>
                      <a:pt x="168" y="301"/>
                      <a:pt x="101" y="1"/>
                      <a:pt x="51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09" name="Google Shape;2209;p44"/>
              <p:cNvSpPr/>
              <p:nvPr/>
            </p:nvSpPr>
            <p:spPr>
              <a:xfrm>
                <a:off x="7146479" y="2665549"/>
                <a:ext cx="38588" cy="31890"/>
              </a:xfrm>
              <a:custGeom>
                <a:avLst/>
                <a:gdLst/>
                <a:ahLst/>
                <a:cxnLst/>
                <a:rect l="l" t="t" r="r" b="b"/>
                <a:pathLst>
                  <a:path w="1204" h="995" extrusionOk="0">
                    <a:moveTo>
                      <a:pt x="1159" y="1"/>
                    </a:moveTo>
                    <a:cubicBezTo>
                      <a:pt x="1098" y="1"/>
                      <a:pt x="847" y="192"/>
                      <a:pt x="552" y="455"/>
                    </a:cubicBezTo>
                    <a:cubicBezTo>
                      <a:pt x="235" y="723"/>
                      <a:pt x="1" y="957"/>
                      <a:pt x="18" y="990"/>
                    </a:cubicBezTo>
                    <a:cubicBezTo>
                      <a:pt x="20" y="993"/>
                      <a:pt x="25" y="994"/>
                      <a:pt x="32" y="994"/>
                    </a:cubicBezTo>
                    <a:cubicBezTo>
                      <a:pt x="102" y="994"/>
                      <a:pt x="379" y="834"/>
                      <a:pt x="669" y="589"/>
                    </a:cubicBezTo>
                    <a:cubicBezTo>
                      <a:pt x="987" y="305"/>
                      <a:pt x="1204" y="38"/>
                      <a:pt x="1171" y="4"/>
                    </a:cubicBezTo>
                    <a:cubicBezTo>
                      <a:pt x="1168" y="2"/>
                      <a:pt x="1164" y="1"/>
                      <a:pt x="1159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10" name="Google Shape;2210;p44"/>
              <p:cNvSpPr/>
              <p:nvPr/>
            </p:nvSpPr>
            <p:spPr>
              <a:xfrm>
                <a:off x="7058117" y="2635518"/>
                <a:ext cx="32178" cy="22884"/>
              </a:xfrm>
              <a:custGeom>
                <a:avLst/>
                <a:gdLst/>
                <a:ahLst/>
                <a:cxnLst/>
                <a:rect l="l" t="t" r="r" b="b"/>
                <a:pathLst>
                  <a:path w="1004" h="714" extrusionOk="0">
                    <a:moveTo>
                      <a:pt x="953" y="0"/>
                    </a:moveTo>
                    <a:cubicBezTo>
                      <a:pt x="888" y="0"/>
                      <a:pt x="677" y="125"/>
                      <a:pt x="452" y="290"/>
                    </a:cubicBezTo>
                    <a:cubicBezTo>
                      <a:pt x="185" y="490"/>
                      <a:pt x="1" y="674"/>
                      <a:pt x="34" y="707"/>
                    </a:cubicBezTo>
                    <a:cubicBezTo>
                      <a:pt x="38" y="711"/>
                      <a:pt x="45" y="713"/>
                      <a:pt x="53" y="713"/>
                    </a:cubicBezTo>
                    <a:cubicBezTo>
                      <a:pt x="121" y="713"/>
                      <a:pt x="330" y="601"/>
                      <a:pt x="552" y="423"/>
                    </a:cubicBezTo>
                    <a:cubicBezTo>
                      <a:pt x="820" y="240"/>
                      <a:pt x="1004" y="56"/>
                      <a:pt x="970" y="6"/>
                    </a:cubicBezTo>
                    <a:cubicBezTo>
                      <a:pt x="967" y="2"/>
                      <a:pt x="961" y="0"/>
                      <a:pt x="95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11" name="Google Shape;2211;p44"/>
              <p:cNvSpPr/>
              <p:nvPr/>
            </p:nvSpPr>
            <p:spPr>
              <a:xfrm>
                <a:off x="7095616" y="2524753"/>
                <a:ext cx="40736" cy="34005"/>
              </a:xfrm>
              <a:custGeom>
                <a:avLst/>
                <a:gdLst/>
                <a:ahLst/>
                <a:cxnLst/>
                <a:rect l="l" t="t" r="r" b="b"/>
                <a:pathLst>
                  <a:path w="1271" h="1061" extrusionOk="0">
                    <a:moveTo>
                      <a:pt x="42" y="0"/>
                    </a:moveTo>
                    <a:cubicBezTo>
                      <a:pt x="39" y="0"/>
                      <a:pt x="36" y="1"/>
                      <a:pt x="34" y="3"/>
                    </a:cubicBezTo>
                    <a:cubicBezTo>
                      <a:pt x="1" y="36"/>
                      <a:pt x="184" y="354"/>
                      <a:pt x="535" y="655"/>
                    </a:cubicBezTo>
                    <a:cubicBezTo>
                      <a:pt x="851" y="925"/>
                      <a:pt x="1167" y="1061"/>
                      <a:pt x="1239" y="1061"/>
                    </a:cubicBezTo>
                    <a:cubicBezTo>
                      <a:pt x="1247" y="1061"/>
                      <a:pt x="1252" y="1059"/>
                      <a:pt x="1254" y="1056"/>
                    </a:cubicBezTo>
                    <a:cubicBezTo>
                      <a:pt x="1270" y="1005"/>
                      <a:pt x="986" y="805"/>
                      <a:pt x="652" y="521"/>
                    </a:cubicBezTo>
                    <a:cubicBezTo>
                      <a:pt x="337" y="253"/>
                      <a:pt x="96" y="0"/>
                      <a:pt x="4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12" name="Google Shape;2212;p44"/>
              <p:cNvSpPr/>
              <p:nvPr/>
            </p:nvSpPr>
            <p:spPr>
              <a:xfrm>
                <a:off x="7212887" y="2527894"/>
                <a:ext cx="32691" cy="23909"/>
              </a:xfrm>
              <a:custGeom>
                <a:avLst/>
                <a:gdLst/>
                <a:ahLst/>
                <a:cxnLst/>
                <a:rect l="l" t="t" r="r" b="b"/>
                <a:pathLst>
                  <a:path w="1020" h="746" extrusionOk="0">
                    <a:moveTo>
                      <a:pt x="974" y="0"/>
                    </a:moveTo>
                    <a:cubicBezTo>
                      <a:pt x="918" y="0"/>
                      <a:pt x="692" y="126"/>
                      <a:pt x="452" y="306"/>
                    </a:cubicBezTo>
                    <a:cubicBezTo>
                      <a:pt x="201" y="506"/>
                      <a:pt x="1" y="707"/>
                      <a:pt x="34" y="740"/>
                    </a:cubicBezTo>
                    <a:cubicBezTo>
                      <a:pt x="38" y="744"/>
                      <a:pt x="43" y="746"/>
                      <a:pt x="51" y="746"/>
                    </a:cubicBezTo>
                    <a:cubicBezTo>
                      <a:pt x="116" y="746"/>
                      <a:pt x="329" y="619"/>
                      <a:pt x="569" y="440"/>
                    </a:cubicBezTo>
                    <a:cubicBezTo>
                      <a:pt x="836" y="239"/>
                      <a:pt x="1020" y="55"/>
                      <a:pt x="987" y="5"/>
                    </a:cubicBezTo>
                    <a:cubicBezTo>
                      <a:pt x="985" y="2"/>
                      <a:pt x="981" y="0"/>
                      <a:pt x="974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13" name="Google Shape;2213;p44"/>
              <p:cNvSpPr/>
              <p:nvPr/>
            </p:nvSpPr>
            <p:spPr>
              <a:xfrm>
                <a:off x="7334452" y="2525907"/>
                <a:ext cx="12884" cy="45575"/>
              </a:xfrm>
              <a:custGeom>
                <a:avLst/>
                <a:gdLst/>
                <a:ahLst/>
                <a:cxnLst/>
                <a:rect l="l" t="t" r="r" b="b"/>
                <a:pathLst>
                  <a:path w="402" h="1422" extrusionOk="0">
                    <a:moveTo>
                      <a:pt x="318" y="0"/>
                    </a:moveTo>
                    <a:cubicBezTo>
                      <a:pt x="285" y="0"/>
                      <a:pt x="218" y="318"/>
                      <a:pt x="151" y="702"/>
                    </a:cubicBezTo>
                    <a:cubicBezTo>
                      <a:pt x="67" y="1086"/>
                      <a:pt x="1" y="1404"/>
                      <a:pt x="34" y="1421"/>
                    </a:cubicBezTo>
                    <a:cubicBezTo>
                      <a:pt x="35" y="1421"/>
                      <a:pt x="37" y="1421"/>
                      <a:pt x="38" y="1421"/>
                    </a:cubicBezTo>
                    <a:cubicBezTo>
                      <a:pt x="92" y="1421"/>
                      <a:pt x="237" y="1126"/>
                      <a:pt x="318" y="736"/>
                    </a:cubicBezTo>
                    <a:cubicBezTo>
                      <a:pt x="402" y="335"/>
                      <a:pt x="368" y="0"/>
                      <a:pt x="318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14" name="Google Shape;2214;p44"/>
              <p:cNvSpPr/>
              <p:nvPr/>
            </p:nvSpPr>
            <p:spPr>
              <a:xfrm>
                <a:off x="7310896" y="2638691"/>
                <a:ext cx="41793" cy="36761"/>
              </a:xfrm>
              <a:custGeom>
                <a:avLst/>
                <a:gdLst/>
                <a:ahLst/>
                <a:cxnLst/>
                <a:rect l="l" t="t" r="r" b="b"/>
                <a:pathLst>
                  <a:path w="1304" h="1147" extrusionOk="0">
                    <a:moveTo>
                      <a:pt x="49" y="0"/>
                    </a:moveTo>
                    <a:cubicBezTo>
                      <a:pt x="42" y="0"/>
                      <a:pt x="37" y="2"/>
                      <a:pt x="34" y="7"/>
                    </a:cubicBezTo>
                    <a:cubicBezTo>
                      <a:pt x="0" y="40"/>
                      <a:pt x="251" y="324"/>
                      <a:pt x="602" y="642"/>
                    </a:cubicBezTo>
                    <a:cubicBezTo>
                      <a:pt x="915" y="923"/>
                      <a:pt x="1213" y="1146"/>
                      <a:pt x="1263" y="1146"/>
                    </a:cubicBezTo>
                    <a:cubicBezTo>
                      <a:pt x="1267" y="1146"/>
                      <a:pt x="1269" y="1145"/>
                      <a:pt x="1270" y="1143"/>
                    </a:cubicBezTo>
                    <a:cubicBezTo>
                      <a:pt x="1304" y="1110"/>
                      <a:pt x="1053" y="826"/>
                      <a:pt x="719" y="508"/>
                    </a:cubicBezTo>
                    <a:cubicBezTo>
                      <a:pt x="400" y="220"/>
                      <a:pt x="123" y="0"/>
                      <a:pt x="49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15" name="Google Shape;2215;p44"/>
              <p:cNvSpPr/>
              <p:nvPr/>
            </p:nvSpPr>
            <p:spPr>
              <a:xfrm>
                <a:off x="7326953" y="2737341"/>
                <a:ext cx="31088" cy="38236"/>
              </a:xfrm>
              <a:custGeom>
                <a:avLst/>
                <a:gdLst/>
                <a:ahLst/>
                <a:cxnLst/>
                <a:rect l="l" t="t" r="r" b="b"/>
                <a:pathLst>
                  <a:path w="970" h="1193" extrusionOk="0">
                    <a:moveTo>
                      <a:pt x="42" y="0"/>
                    </a:moveTo>
                    <a:cubicBezTo>
                      <a:pt x="39" y="0"/>
                      <a:pt x="36" y="1"/>
                      <a:pt x="34" y="3"/>
                    </a:cubicBezTo>
                    <a:cubicBezTo>
                      <a:pt x="1" y="37"/>
                      <a:pt x="168" y="321"/>
                      <a:pt x="402" y="638"/>
                    </a:cubicBezTo>
                    <a:cubicBezTo>
                      <a:pt x="637" y="952"/>
                      <a:pt x="858" y="1193"/>
                      <a:pt x="912" y="1193"/>
                    </a:cubicBezTo>
                    <a:cubicBezTo>
                      <a:pt x="915" y="1193"/>
                      <a:pt x="918" y="1192"/>
                      <a:pt x="920" y="1190"/>
                    </a:cubicBezTo>
                    <a:cubicBezTo>
                      <a:pt x="970" y="1156"/>
                      <a:pt x="803" y="872"/>
                      <a:pt x="552" y="538"/>
                    </a:cubicBezTo>
                    <a:cubicBezTo>
                      <a:pt x="317" y="240"/>
                      <a:pt x="96" y="0"/>
                      <a:pt x="4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16" name="Google Shape;2216;p44"/>
              <p:cNvSpPr/>
              <p:nvPr/>
            </p:nvSpPr>
            <p:spPr>
              <a:xfrm>
                <a:off x="7218239" y="2772179"/>
                <a:ext cx="40191" cy="56857"/>
              </a:xfrm>
              <a:custGeom>
                <a:avLst/>
                <a:gdLst/>
                <a:ahLst/>
                <a:cxnLst/>
                <a:rect l="l" t="t" r="r" b="b"/>
                <a:pathLst>
                  <a:path w="1254" h="1774" extrusionOk="0">
                    <a:moveTo>
                      <a:pt x="1214" y="0"/>
                    </a:moveTo>
                    <a:cubicBezTo>
                      <a:pt x="1155" y="0"/>
                      <a:pt x="821" y="326"/>
                      <a:pt x="502" y="804"/>
                    </a:cubicBezTo>
                    <a:cubicBezTo>
                      <a:pt x="168" y="1289"/>
                      <a:pt x="1" y="1740"/>
                      <a:pt x="34" y="1773"/>
                    </a:cubicBezTo>
                    <a:cubicBezTo>
                      <a:pt x="35" y="1774"/>
                      <a:pt x="36" y="1774"/>
                      <a:pt x="38" y="1774"/>
                    </a:cubicBezTo>
                    <a:cubicBezTo>
                      <a:pt x="95" y="1774"/>
                      <a:pt x="341" y="1379"/>
                      <a:pt x="652" y="905"/>
                    </a:cubicBezTo>
                    <a:cubicBezTo>
                      <a:pt x="970" y="420"/>
                      <a:pt x="1254" y="36"/>
                      <a:pt x="1221" y="2"/>
                    </a:cubicBezTo>
                    <a:cubicBezTo>
                      <a:pt x="1219" y="1"/>
                      <a:pt x="1217" y="0"/>
                      <a:pt x="1214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17" name="Google Shape;2217;p44"/>
              <p:cNvSpPr/>
              <p:nvPr/>
            </p:nvSpPr>
            <p:spPr>
              <a:xfrm>
                <a:off x="7094013" y="2766314"/>
                <a:ext cx="28428" cy="52562"/>
              </a:xfrm>
              <a:custGeom>
                <a:avLst/>
                <a:gdLst/>
                <a:ahLst/>
                <a:cxnLst/>
                <a:rect l="l" t="t" r="r" b="b"/>
                <a:pathLst>
                  <a:path w="887" h="1640" extrusionOk="0">
                    <a:moveTo>
                      <a:pt x="53" y="1"/>
                    </a:moveTo>
                    <a:cubicBezTo>
                      <a:pt x="52" y="1"/>
                      <a:pt x="51" y="1"/>
                      <a:pt x="51" y="2"/>
                    </a:cubicBezTo>
                    <a:cubicBezTo>
                      <a:pt x="0" y="35"/>
                      <a:pt x="151" y="419"/>
                      <a:pt x="368" y="870"/>
                    </a:cubicBezTo>
                    <a:cubicBezTo>
                      <a:pt x="580" y="1295"/>
                      <a:pt x="793" y="1640"/>
                      <a:pt x="833" y="1640"/>
                    </a:cubicBezTo>
                    <a:cubicBezTo>
                      <a:pt x="834" y="1640"/>
                      <a:pt x="835" y="1639"/>
                      <a:pt x="836" y="1639"/>
                    </a:cubicBezTo>
                    <a:cubicBezTo>
                      <a:pt x="886" y="1622"/>
                      <a:pt x="736" y="1238"/>
                      <a:pt x="518" y="787"/>
                    </a:cubicBezTo>
                    <a:cubicBezTo>
                      <a:pt x="306" y="346"/>
                      <a:pt x="94" y="1"/>
                      <a:pt x="53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18" name="Google Shape;2218;p44"/>
              <p:cNvSpPr/>
              <p:nvPr/>
            </p:nvSpPr>
            <p:spPr>
              <a:xfrm>
                <a:off x="6946744" y="2789806"/>
                <a:ext cx="50895" cy="43075"/>
              </a:xfrm>
              <a:custGeom>
                <a:avLst/>
                <a:gdLst/>
                <a:ahLst/>
                <a:cxnLst/>
                <a:rect l="l" t="t" r="r" b="b"/>
                <a:pathLst>
                  <a:path w="1588" h="1344" extrusionOk="0">
                    <a:moveTo>
                      <a:pt x="1548" y="1"/>
                    </a:moveTo>
                    <a:cubicBezTo>
                      <a:pt x="1496" y="1"/>
                      <a:pt x="1146" y="258"/>
                      <a:pt x="736" y="605"/>
                    </a:cubicBezTo>
                    <a:cubicBezTo>
                      <a:pt x="318" y="973"/>
                      <a:pt x="1" y="1307"/>
                      <a:pt x="34" y="1340"/>
                    </a:cubicBezTo>
                    <a:cubicBezTo>
                      <a:pt x="36" y="1342"/>
                      <a:pt x="39" y="1343"/>
                      <a:pt x="43" y="1343"/>
                    </a:cubicBezTo>
                    <a:cubicBezTo>
                      <a:pt x="109" y="1343"/>
                      <a:pt x="459" y="1086"/>
                      <a:pt x="853" y="739"/>
                    </a:cubicBezTo>
                    <a:cubicBezTo>
                      <a:pt x="1287" y="371"/>
                      <a:pt x="1588" y="37"/>
                      <a:pt x="1555" y="4"/>
                    </a:cubicBezTo>
                    <a:cubicBezTo>
                      <a:pt x="1554" y="2"/>
                      <a:pt x="1551" y="1"/>
                      <a:pt x="1548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19" name="Google Shape;2219;p44"/>
              <p:cNvSpPr/>
              <p:nvPr/>
            </p:nvSpPr>
            <p:spPr>
              <a:xfrm>
                <a:off x="7000844" y="2881918"/>
                <a:ext cx="44453" cy="43043"/>
              </a:xfrm>
              <a:custGeom>
                <a:avLst/>
                <a:gdLst/>
                <a:ahLst/>
                <a:cxnLst/>
                <a:rect l="l" t="t" r="r" b="b"/>
                <a:pathLst>
                  <a:path w="1387" h="1343" extrusionOk="0">
                    <a:moveTo>
                      <a:pt x="28" y="0"/>
                    </a:moveTo>
                    <a:cubicBezTo>
                      <a:pt x="23" y="0"/>
                      <a:pt x="19" y="1"/>
                      <a:pt x="17" y="4"/>
                    </a:cubicBezTo>
                    <a:cubicBezTo>
                      <a:pt x="0" y="54"/>
                      <a:pt x="301" y="321"/>
                      <a:pt x="669" y="689"/>
                    </a:cubicBezTo>
                    <a:cubicBezTo>
                      <a:pt x="1002" y="1038"/>
                      <a:pt x="1276" y="1343"/>
                      <a:pt x="1345" y="1343"/>
                    </a:cubicBezTo>
                    <a:cubicBezTo>
                      <a:pt x="1348" y="1343"/>
                      <a:pt x="1351" y="1342"/>
                      <a:pt x="1354" y="1340"/>
                    </a:cubicBezTo>
                    <a:cubicBezTo>
                      <a:pt x="1387" y="1307"/>
                      <a:pt x="1153" y="939"/>
                      <a:pt x="785" y="572"/>
                    </a:cubicBezTo>
                    <a:cubicBezTo>
                      <a:pt x="443" y="213"/>
                      <a:pt x="100" y="0"/>
                      <a:pt x="28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20" name="Google Shape;2220;p44"/>
              <p:cNvSpPr/>
              <p:nvPr/>
            </p:nvSpPr>
            <p:spPr>
              <a:xfrm>
                <a:off x="7129365" y="2879258"/>
                <a:ext cx="31088" cy="49934"/>
              </a:xfrm>
              <a:custGeom>
                <a:avLst/>
                <a:gdLst/>
                <a:ahLst/>
                <a:cxnLst/>
                <a:rect l="l" t="t" r="r" b="b"/>
                <a:pathLst>
                  <a:path w="970" h="1558" extrusionOk="0">
                    <a:moveTo>
                      <a:pt x="928" y="0"/>
                    </a:moveTo>
                    <a:cubicBezTo>
                      <a:pt x="871" y="0"/>
                      <a:pt x="588" y="277"/>
                      <a:pt x="351" y="688"/>
                    </a:cubicBezTo>
                    <a:cubicBezTo>
                      <a:pt x="100" y="1139"/>
                      <a:pt x="0" y="1540"/>
                      <a:pt x="50" y="1557"/>
                    </a:cubicBezTo>
                    <a:cubicBezTo>
                      <a:pt x="51" y="1557"/>
                      <a:pt x="53" y="1557"/>
                      <a:pt x="54" y="1557"/>
                    </a:cubicBezTo>
                    <a:cubicBezTo>
                      <a:pt x="107" y="1557"/>
                      <a:pt x="256" y="1196"/>
                      <a:pt x="501" y="772"/>
                    </a:cubicBezTo>
                    <a:cubicBezTo>
                      <a:pt x="735" y="354"/>
                      <a:pt x="969" y="36"/>
                      <a:pt x="936" y="3"/>
                    </a:cubicBezTo>
                    <a:cubicBezTo>
                      <a:pt x="934" y="1"/>
                      <a:pt x="932" y="0"/>
                      <a:pt x="928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21" name="Google Shape;2221;p44"/>
              <p:cNvSpPr/>
              <p:nvPr/>
            </p:nvSpPr>
            <p:spPr>
              <a:xfrm>
                <a:off x="7201637" y="2900667"/>
                <a:ext cx="51985" cy="41985"/>
              </a:xfrm>
              <a:custGeom>
                <a:avLst/>
                <a:gdLst/>
                <a:ahLst/>
                <a:cxnLst/>
                <a:rect l="l" t="t" r="r" b="b"/>
                <a:pathLst>
                  <a:path w="1622" h="1310" extrusionOk="0">
                    <a:moveTo>
                      <a:pt x="43" y="1"/>
                    </a:moveTo>
                    <a:cubicBezTo>
                      <a:pt x="39" y="1"/>
                      <a:pt x="36" y="1"/>
                      <a:pt x="34" y="3"/>
                    </a:cubicBezTo>
                    <a:cubicBezTo>
                      <a:pt x="1" y="53"/>
                      <a:pt x="335" y="371"/>
                      <a:pt x="753" y="722"/>
                    </a:cubicBezTo>
                    <a:cubicBezTo>
                      <a:pt x="1161" y="1067"/>
                      <a:pt x="1511" y="1310"/>
                      <a:pt x="1579" y="1310"/>
                    </a:cubicBezTo>
                    <a:cubicBezTo>
                      <a:pt x="1583" y="1310"/>
                      <a:pt x="1586" y="1309"/>
                      <a:pt x="1588" y="1307"/>
                    </a:cubicBezTo>
                    <a:cubicBezTo>
                      <a:pt x="1622" y="1273"/>
                      <a:pt x="1304" y="956"/>
                      <a:pt x="870" y="588"/>
                    </a:cubicBezTo>
                    <a:cubicBezTo>
                      <a:pt x="460" y="257"/>
                      <a:pt x="110" y="1"/>
                      <a:pt x="43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22" name="Google Shape;2222;p44"/>
              <p:cNvSpPr/>
              <p:nvPr/>
            </p:nvSpPr>
            <p:spPr>
              <a:xfrm>
                <a:off x="7200580" y="2592186"/>
                <a:ext cx="42338" cy="29935"/>
              </a:xfrm>
              <a:custGeom>
                <a:avLst/>
                <a:gdLst/>
                <a:ahLst/>
                <a:cxnLst/>
                <a:rect l="l" t="t" r="r" b="b"/>
                <a:pathLst>
                  <a:path w="1321" h="934" extrusionOk="0">
                    <a:moveTo>
                      <a:pt x="44" y="1"/>
                    </a:moveTo>
                    <a:cubicBezTo>
                      <a:pt x="40" y="1"/>
                      <a:pt x="36" y="2"/>
                      <a:pt x="34" y="4"/>
                    </a:cubicBezTo>
                    <a:cubicBezTo>
                      <a:pt x="0" y="38"/>
                      <a:pt x="234" y="322"/>
                      <a:pt x="585" y="589"/>
                    </a:cubicBezTo>
                    <a:cubicBezTo>
                      <a:pt x="887" y="805"/>
                      <a:pt x="1176" y="934"/>
                      <a:pt x="1262" y="934"/>
                    </a:cubicBezTo>
                    <a:cubicBezTo>
                      <a:pt x="1276" y="934"/>
                      <a:pt x="1285" y="930"/>
                      <a:pt x="1287" y="923"/>
                    </a:cubicBezTo>
                    <a:cubicBezTo>
                      <a:pt x="1320" y="890"/>
                      <a:pt x="1020" y="689"/>
                      <a:pt x="686" y="439"/>
                    </a:cubicBezTo>
                    <a:cubicBezTo>
                      <a:pt x="359" y="205"/>
                      <a:pt x="104" y="1"/>
                      <a:pt x="44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23" name="Google Shape;2223;p44"/>
              <p:cNvSpPr/>
              <p:nvPr/>
            </p:nvSpPr>
            <p:spPr>
              <a:xfrm>
                <a:off x="7028695" y="3174182"/>
                <a:ext cx="37499" cy="27146"/>
              </a:xfrm>
              <a:custGeom>
                <a:avLst/>
                <a:gdLst/>
                <a:ahLst/>
                <a:cxnLst/>
                <a:rect l="l" t="t" r="r" b="b"/>
                <a:pathLst>
                  <a:path w="1170" h="847" extrusionOk="0">
                    <a:moveTo>
                      <a:pt x="1129" y="0"/>
                    </a:moveTo>
                    <a:cubicBezTo>
                      <a:pt x="1047" y="0"/>
                      <a:pt x="774" y="90"/>
                      <a:pt x="501" y="291"/>
                    </a:cubicBezTo>
                    <a:cubicBezTo>
                      <a:pt x="167" y="525"/>
                      <a:pt x="0" y="809"/>
                      <a:pt x="33" y="843"/>
                    </a:cubicBezTo>
                    <a:cubicBezTo>
                      <a:pt x="36" y="845"/>
                      <a:pt x="39" y="846"/>
                      <a:pt x="43" y="846"/>
                    </a:cubicBezTo>
                    <a:cubicBezTo>
                      <a:pt x="99" y="846"/>
                      <a:pt x="321" y="643"/>
                      <a:pt x="602" y="425"/>
                    </a:cubicBezTo>
                    <a:cubicBezTo>
                      <a:pt x="902" y="208"/>
                      <a:pt x="1170" y="58"/>
                      <a:pt x="1153" y="7"/>
                    </a:cubicBezTo>
                    <a:cubicBezTo>
                      <a:pt x="1151" y="3"/>
                      <a:pt x="1142" y="0"/>
                      <a:pt x="1129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24" name="Google Shape;2224;p44"/>
              <p:cNvSpPr/>
              <p:nvPr/>
            </p:nvSpPr>
            <p:spPr>
              <a:xfrm>
                <a:off x="7177023" y="3179727"/>
                <a:ext cx="20384" cy="48267"/>
              </a:xfrm>
              <a:custGeom>
                <a:avLst/>
                <a:gdLst/>
                <a:ahLst/>
                <a:cxnLst/>
                <a:rect l="l" t="t" r="r" b="b"/>
                <a:pathLst>
                  <a:path w="636" h="1506" extrusionOk="0">
                    <a:moveTo>
                      <a:pt x="53" y="1"/>
                    </a:moveTo>
                    <a:cubicBezTo>
                      <a:pt x="52" y="1"/>
                      <a:pt x="51" y="1"/>
                      <a:pt x="50" y="1"/>
                    </a:cubicBezTo>
                    <a:cubicBezTo>
                      <a:pt x="0" y="18"/>
                      <a:pt x="84" y="369"/>
                      <a:pt x="234" y="787"/>
                    </a:cubicBezTo>
                    <a:cubicBezTo>
                      <a:pt x="381" y="1194"/>
                      <a:pt x="543" y="1506"/>
                      <a:pt x="598" y="1506"/>
                    </a:cubicBezTo>
                    <a:cubicBezTo>
                      <a:pt x="599" y="1506"/>
                      <a:pt x="601" y="1506"/>
                      <a:pt x="602" y="1505"/>
                    </a:cubicBezTo>
                    <a:cubicBezTo>
                      <a:pt x="635" y="1489"/>
                      <a:pt x="552" y="1138"/>
                      <a:pt x="401" y="720"/>
                    </a:cubicBezTo>
                    <a:cubicBezTo>
                      <a:pt x="255" y="313"/>
                      <a:pt x="92" y="1"/>
                      <a:pt x="53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25" name="Google Shape;2225;p44"/>
              <p:cNvSpPr/>
              <p:nvPr/>
            </p:nvSpPr>
            <p:spPr>
              <a:xfrm>
                <a:off x="7292691" y="3181265"/>
                <a:ext cx="36441" cy="35576"/>
              </a:xfrm>
              <a:custGeom>
                <a:avLst/>
                <a:gdLst/>
                <a:ahLst/>
                <a:cxnLst/>
                <a:rect l="l" t="t" r="r" b="b"/>
                <a:pathLst>
                  <a:path w="1137" h="1110" extrusionOk="0">
                    <a:moveTo>
                      <a:pt x="1090" y="0"/>
                    </a:moveTo>
                    <a:cubicBezTo>
                      <a:pt x="1019" y="0"/>
                      <a:pt x="782" y="209"/>
                      <a:pt x="502" y="505"/>
                    </a:cubicBezTo>
                    <a:cubicBezTo>
                      <a:pt x="201" y="806"/>
                      <a:pt x="0" y="1073"/>
                      <a:pt x="34" y="1106"/>
                    </a:cubicBezTo>
                    <a:cubicBezTo>
                      <a:pt x="36" y="1109"/>
                      <a:pt x="39" y="1110"/>
                      <a:pt x="44" y="1110"/>
                    </a:cubicBezTo>
                    <a:cubicBezTo>
                      <a:pt x="104" y="1110"/>
                      <a:pt x="355" y="902"/>
                      <a:pt x="635" y="622"/>
                    </a:cubicBezTo>
                    <a:cubicBezTo>
                      <a:pt x="919" y="321"/>
                      <a:pt x="1137" y="37"/>
                      <a:pt x="1103" y="4"/>
                    </a:cubicBezTo>
                    <a:cubicBezTo>
                      <a:pt x="1100" y="1"/>
                      <a:pt x="1095" y="0"/>
                      <a:pt x="1090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26" name="Google Shape;2226;p44"/>
              <p:cNvSpPr/>
              <p:nvPr/>
            </p:nvSpPr>
            <p:spPr>
              <a:xfrm>
                <a:off x="6945141" y="3150305"/>
                <a:ext cx="507704" cy="63747"/>
              </a:xfrm>
              <a:custGeom>
                <a:avLst/>
                <a:gdLst/>
                <a:ahLst/>
                <a:cxnLst/>
                <a:rect l="l" t="t" r="r" b="b"/>
                <a:pathLst>
                  <a:path w="15841" h="1989" extrusionOk="0">
                    <a:moveTo>
                      <a:pt x="151" y="1"/>
                    </a:moveTo>
                    <a:lnTo>
                      <a:pt x="0" y="719"/>
                    </a:lnTo>
                    <a:lnTo>
                      <a:pt x="15840" y="1989"/>
                    </a:lnTo>
                    <a:lnTo>
                      <a:pt x="15172" y="234"/>
                    </a:lnTo>
                    <a:lnTo>
                      <a:pt x="151" y="1"/>
                    </a:lnTo>
                    <a:close/>
                  </a:path>
                </a:pathLst>
              </a:custGeom>
              <a:solidFill>
                <a:schemeClr val="dk2">
                  <a:alpha val="32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27" name="Google Shape;2227;p44"/>
              <p:cNvSpPr/>
              <p:nvPr/>
            </p:nvSpPr>
            <p:spPr>
              <a:xfrm>
                <a:off x="5326840" y="3068898"/>
                <a:ext cx="2992444" cy="1600128"/>
              </a:xfrm>
              <a:custGeom>
                <a:avLst/>
                <a:gdLst/>
                <a:ahLst/>
                <a:cxnLst/>
                <a:rect l="l" t="t" r="r" b="b"/>
                <a:pathLst>
                  <a:path w="93368" h="49926" extrusionOk="0">
                    <a:moveTo>
                      <a:pt x="0" y="1"/>
                    </a:moveTo>
                    <a:lnTo>
                      <a:pt x="0" y="2490"/>
                    </a:lnTo>
                    <a:lnTo>
                      <a:pt x="4996" y="2490"/>
                    </a:lnTo>
                    <a:lnTo>
                      <a:pt x="2423" y="49842"/>
                    </a:lnTo>
                    <a:lnTo>
                      <a:pt x="3843" y="49926"/>
                    </a:lnTo>
                    <a:lnTo>
                      <a:pt x="6416" y="2490"/>
                    </a:lnTo>
                    <a:lnTo>
                      <a:pt x="88272" y="2490"/>
                    </a:lnTo>
                    <a:lnTo>
                      <a:pt x="90460" y="49876"/>
                    </a:lnTo>
                    <a:lnTo>
                      <a:pt x="91897" y="49876"/>
                    </a:lnTo>
                    <a:lnTo>
                      <a:pt x="89692" y="2490"/>
                    </a:lnTo>
                    <a:lnTo>
                      <a:pt x="93368" y="2490"/>
                    </a:lnTo>
                    <a:lnTo>
                      <a:pt x="93368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28" name="Google Shape;2228;p44"/>
              <p:cNvSpPr/>
              <p:nvPr/>
            </p:nvSpPr>
            <p:spPr>
              <a:xfrm>
                <a:off x="6199722" y="2596577"/>
                <a:ext cx="917335" cy="485205"/>
              </a:xfrm>
              <a:custGeom>
                <a:avLst/>
                <a:gdLst/>
                <a:ahLst/>
                <a:cxnLst/>
                <a:rect l="l" t="t" r="r" b="b"/>
                <a:pathLst>
                  <a:path w="28622" h="15139" extrusionOk="0">
                    <a:moveTo>
                      <a:pt x="14603" y="1"/>
                    </a:moveTo>
                    <a:lnTo>
                      <a:pt x="0" y="18"/>
                    </a:lnTo>
                    <a:lnTo>
                      <a:pt x="5180" y="15139"/>
                    </a:lnTo>
                    <a:lnTo>
                      <a:pt x="28622" y="15139"/>
                    </a:lnTo>
                    <a:lnTo>
                      <a:pt x="28438" y="14354"/>
                    </a:lnTo>
                    <a:lnTo>
                      <a:pt x="18964" y="14069"/>
                    </a:lnTo>
                    <a:lnTo>
                      <a:pt x="14603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29" name="Google Shape;2229;p44"/>
              <p:cNvSpPr/>
              <p:nvPr/>
            </p:nvSpPr>
            <p:spPr>
              <a:xfrm>
                <a:off x="6471763" y="2795511"/>
                <a:ext cx="65895" cy="73427"/>
              </a:xfrm>
              <a:custGeom>
                <a:avLst/>
                <a:gdLst/>
                <a:ahLst/>
                <a:cxnLst/>
                <a:rect l="l" t="t" r="r" b="b"/>
                <a:pathLst>
                  <a:path w="2056" h="2291" extrusionOk="0">
                    <a:moveTo>
                      <a:pt x="925" y="0"/>
                    </a:moveTo>
                    <a:cubicBezTo>
                      <a:pt x="862" y="0"/>
                      <a:pt x="798" y="9"/>
                      <a:pt x="735" y="26"/>
                    </a:cubicBezTo>
                    <a:cubicBezTo>
                      <a:pt x="251" y="143"/>
                      <a:pt x="0" y="761"/>
                      <a:pt x="150" y="1380"/>
                    </a:cubicBezTo>
                    <a:cubicBezTo>
                      <a:pt x="281" y="1917"/>
                      <a:pt x="690" y="2291"/>
                      <a:pt x="1114" y="2291"/>
                    </a:cubicBezTo>
                    <a:cubicBezTo>
                      <a:pt x="1177" y="2291"/>
                      <a:pt x="1240" y="2283"/>
                      <a:pt x="1303" y="2265"/>
                    </a:cubicBezTo>
                    <a:cubicBezTo>
                      <a:pt x="1788" y="2131"/>
                      <a:pt x="2055" y="1530"/>
                      <a:pt x="1888" y="912"/>
                    </a:cubicBezTo>
                    <a:cubicBezTo>
                      <a:pt x="1757" y="374"/>
                      <a:pt x="1348" y="0"/>
                      <a:pt x="925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30" name="Google Shape;2230;p44"/>
              <p:cNvSpPr/>
              <p:nvPr/>
            </p:nvSpPr>
            <p:spPr>
              <a:xfrm>
                <a:off x="6600796" y="4512109"/>
                <a:ext cx="336878" cy="154128"/>
              </a:xfrm>
              <a:custGeom>
                <a:avLst/>
                <a:gdLst/>
                <a:ahLst/>
                <a:cxnLst/>
                <a:rect l="l" t="t" r="r" b="b"/>
                <a:pathLst>
                  <a:path w="10511" h="4809" extrusionOk="0">
                    <a:moveTo>
                      <a:pt x="10377" y="0"/>
                    </a:moveTo>
                    <a:lnTo>
                      <a:pt x="4713" y="151"/>
                    </a:lnTo>
                    <a:lnTo>
                      <a:pt x="4780" y="3175"/>
                    </a:lnTo>
                    <a:cubicBezTo>
                      <a:pt x="4780" y="3175"/>
                      <a:pt x="1" y="4378"/>
                      <a:pt x="1170" y="4712"/>
                    </a:cubicBezTo>
                    <a:cubicBezTo>
                      <a:pt x="1428" y="4781"/>
                      <a:pt x="2003" y="4809"/>
                      <a:pt x="2748" y="4809"/>
                    </a:cubicBezTo>
                    <a:cubicBezTo>
                      <a:pt x="5054" y="4809"/>
                      <a:pt x="8985" y="4546"/>
                      <a:pt x="10160" y="4445"/>
                    </a:cubicBezTo>
                    <a:lnTo>
                      <a:pt x="10511" y="4411"/>
                    </a:lnTo>
                    <a:lnTo>
                      <a:pt x="10377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31" name="Google Shape;2231;p44"/>
              <p:cNvSpPr/>
              <p:nvPr/>
            </p:nvSpPr>
            <p:spPr>
              <a:xfrm>
                <a:off x="6871779" y="4600407"/>
                <a:ext cx="65350" cy="53652"/>
              </a:xfrm>
              <a:custGeom>
                <a:avLst/>
                <a:gdLst/>
                <a:ahLst/>
                <a:cxnLst/>
                <a:rect l="l" t="t" r="r" b="b"/>
                <a:pathLst>
                  <a:path w="2039" h="1674" extrusionOk="0">
                    <a:moveTo>
                      <a:pt x="1933" y="1"/>
                    </a:moveTo>
                    <a:cubicBezTo>
                      <a:pt x="1474" y="1"/>
                      <a:pt x="1035" y="152"/>
                      <a:pt x="685" y="453"/>
                    </a:cubicBezTo>
                    <a:cubicBezTo>
                      <a:pt x="318" y="754"/>
                      <a:pt x="67" y="1188"/>
                      <a:pt x="0" y="1673"/>
                    </a:cubicBezTo>
                    <a:lnTo>
                      <a:pt x="2039" y="1573"/>
                    </a:lnTo>
                    <a:lnTo>
                      <a:pt x="2005" y="2"/>
                    </a:lnTo>
                    <a:cubicBezTo>
                      <a:pt x="1981" y="1"/>
                      <a:pt x="1957" y="1"/>
                      <a:pt x="1933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32" name="Google Shape;2232;p44"/>
              <p:cNvSpPr/>
              <p:nvPr/>
            </p:nvSpPr>
            <p:spPr>
              <a:xfrm>
                <a:off x="6625442" y="4635277"/>
                <a:ext cx="312231" cy="30223"/>
              </a:xfrm>
              <a:custGeom>
                <a:avLst/>
                <a:gdLst/>
                <a:ahLst/>
                <a:cxnLst/>
                <a:rect l="l" t="t" r="r" b="b"/>
                <a:pathLst>
                  <a:path w="9742" h="943" extrusionOk="0">
                    <a:moveTo>
                      <a:pt x="1671" y="0"/>
                    </a:moveTo>
                    <a:cubicBezTo>
                      <a:pt x="1671" y="0"/>
                      <a:pt x="0" y="535"/>
                      <a:pt x="218" y="802"/>
                    </a:cubicBezTo>
                    <a:cubicBezTo>
                      <a:pt x="292" y="900"/>
                      <a:pt x="1105" y="942"/>
                      <a:pt x="2255" y="942"/>
                    </a:cubicBezTo>
                    <a:cubicBezTo>
                      <a:pt x="4451" y="942"/>
                      <a:pt x="7877" y="788"/>
                      <a:pt x="9742" y="568"/>
                    </a:cubicBezTo>
                    <a:lnTo>
                      <a:pt x="9725" y="451"/>
                    </a:lnTo>
                    <a:lnTo>
                      <a:pt x="2189" y="719"/>
                    </a:lnTo>
                    <a:cubicBezTo>
                      <a:pt x="2189" y="719"/>
                      <a:pt x="2005" y="17"/>
                      <a:pt x="1671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33" name="Google Shape;2233;p44"/>
              <p:cNvSpPr/>
              <p:nvPr/>
            </p:nvSpPr>
            <p:spPr>
              <a:xfrm>
                <a:off x="6632397" y="4649187"/>
                <a:ext cx="307968" cy="9871"/>
              </a:xfrm>
              <a:custGeom>
                <a:avLst/>
                <a:gdLst/>
                <a:ahLst/>
                <a:cxnLst/>
                <a:rect l="l" t="t" r="r" b="b"/>
                <a:pathLst>
                  <a:path w="9609" h="308" extrusionOk="0">
                    <a:moveTo>
                      <a:pt x="9508" y="1"/>
                    </a:moveTo>
                    <a:cubicBezTo>
                      <a:pt x="9424" y="17"/>
                      <a:pt x="9324" y="17"/>
                      <a:pt x="9224" y="17"/>
                    </a:cubicBezTo>
                    <a:cubicBezTo>
                      <a:pt x="8940" y="34"/>
                      <a:pt x="8606" y="51"/>
                      <a:pt x="8188" y="67"/>
                    </a:cubicBezTo>
                    <a:cubicBezTo>
                      <a:pt x="7319" y="118"/>
                      <a:pt x="6133" y="168"/>
                      <a:pt x="4796" y="201"/>
                    </a:cubicBezTo>
                    <a:cubicBezTo>
                      <a:pt x="3476" y="235"/>
                      <a:pt x="2273" y="251"/>
                      <a:pt x="1404" y="268"/>
                    </a:cubicBezTo>
                    <a:lnTo>
                      <a:pt x="101" y="268"/>
                    </a:lnTo>
                    <a:cubicBezTo>
                      <a:pt x="68" y="268"/>
                      <a:pt x="34" y="268"/>
                      <a:pt x="1" y="285"/>
                    </a:cubicBezTo>
                    <a:lnTo>
                      <a:pt x="101" y="285"/>
                    </a:lnTo>
                    <a:cubicBezTo>
                      <a:pt x="184" y="285"/>
                      <a:pt x="268" y="285"/>
                      <a:pt x="368" y="301"/>
                    </a:cubicBezTo>
                    <a:lnTo>
                      <a:pt x="1404" y="301"/>
                    </a:lnTo>
                    <a:cubicBezTo>
                      <a:pt x="1637" y="306"/>
                      <a:pt x="1894" y="308"/>
                      <a:pt x="2170" y="308"/>
                    </a:cubicBezTo>
                    <a:cubicBezTo>
                      <a:pt x="2926" y="308"/>
                      <a:pt x="3830" y="292"/>
                      <a:pt x="4796" y="268"/>
                    </a:cubicBezTo>
                    <a:cubicBezTo>
                      <a:pt x="6133" y="235"/>
                      <a:pt x="7336" y="168"/>
                      <a:pt x="8205" y="118"/>
                    </a:cubicBezTo>
                    <a:lnTo>
                      <a:pt x="9224" y="51"/>
                    </a:lnTo>
                    <a:cubicBezTo>
                      <a:pt x="9324" y="34"/>
                      <a:pt x="9424" y="34"/>
                      <a:pt x="9508" y="17"/>
                    </a:cubicBezTo>
                    <a:cubicBezTo>
                      <a:pt x="9541" y="17"/>
                      <a:pt x="9575" y="17"/>
                      <a:pt x="960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34" name="Google Shape;2234;p44"/>
              <p:cNvSpPr/>
              <p:nvPr/>
            </p:nvSpPr>
            <p:spPr>
              <a:xfrm>
                <a:off x="6677908" y="4633130"/>
                <a:ext cx="18236" cy="27883"/>
              </a:xfrm>
              <a:custGeom>
                <a:avLst/>
                <a:gdLst/>
                <a:ahLst/>
                <a:cxnLst/>
                <a:rect l="l" t="t" r="r" b="b"/>
                <a:pathLst>
                  <a:path w="569" h="870" extrusionOk="0">
                    <a:moveTo>
                      <a:pt x="1" y="0"/>
                    </a:moveTo>
                    <a:cubicBezTo>
                      <a:pt x="285" y="218"/>
                      <a:pt x="485" y="518"/>
                      <a:pt x="552" y="869"/>
                    </a:cubicBezTo>
                    <a:cubicBezTo>
                      <a:pt x="569" y="502"/>
                      <a:pt x="352" y="151"/>
                      <a:pt x="1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35" name="Google Shape;2235;p44"/>
              <p:cNvSpPr/>
              <p:nvPr/>
            </p:nvSpPr>
            <p:spPr>
              <a:xfrm>
                <a:off x="6737906" y="4617554"/>
                <a:ext cx="11282" cy="15064"/>
              </a:xfrm>
              <a:custGeom>
                <a:avLst/>
                <a:gdLst/>
                <a:ahLst/>
                <a:cxnLst/>
                <a:rect l="l" t="t" r="r" b="b"/>
                <a:pathLst>
                  <a:path w="352" h="470" extrusionOk="0">
                    <a:moveTo>
                      <a:pt x="22" y="0"/>
                    </a:moveTo>
                    <a:cubicBezTo>
                      <a:pt x="20" y="0"/>
                      <a:pt x="18" y="1"/>
                      <a:pt x="17" y="2"/>
                    </a:cubicBezTo>
                    <a:cubicBezTo>
                      <a:pt x="0" y="19"/>
                      <a:pt x="67" y="119"/>
                      <a:pt x="151" y="252"/>
                    </a:cubicBezTo>
                    <a:cubicBezTo>
                      <a:pt x="234" y="386"/>
                      <a:pt x="318" y="470"/>
                      <a:pt x="334" y="470"/>
                    </a:cubicBezTo>
                    <a:cubicBezTo>
                      <a:pt x="351" y="453"/>
                      <a:pt x="301" y="336"/>
                      <a:pt x="201" y="219"/>
                    </a:cubicBezTo>
                    <a:cubicBezTo>
                      <a:pt x="123" y="95"/>
                      <a:pt x="46" y="0"/>
                      <a:pt x="22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36" name="Google Shape;2236;p44"/>
              <p:cNvSpPr/>
              <p:nvPr/>
            </p:nvSpPr>
            <p:spPr>
              <a:xfrm>
                <a:off x="6751271" y="4614317"/>
                <a:ext cx="12371" cy="10288"/>
              </a:xfrm>
              <a:custGeom>
                <a:avLst/>
                <a:gdLst/>
                <a:ahLst/>
                <a:cxnLst/>
                <a:rect l="l" t="t" r="r" b="b"/>
                <a:pathLst>
                  <a:path w="386" h="321" extrusionOk="0">
                    <a:moveTo>
                      <a:pt x="9" y="0"/>
                    </a:moveTo>
                    <a:cubicBezTo>
                      <a:pt x="5" y="0"/>
                      <a:pt x="3" y="1"/>
                      <a:pt x="1" y="3"/>
                    </a:cubicBezTo>
                    <a:cubicBezTo>
                      <a:pt x="1" y="19"/>
                      <a:pt x="68" y="103"/>
                      <a:pt x="168" y="186"/>
                    </a:cubicBezTo>
                    <a:cubicBezTo>
                      <a:pt x="268" y="270"/>
                      <a:pt x="352" y="320"/>
                      <a:pt x="369" y="320"/>
                    </a:cubicBezTo>
                    <a:cubicBezTo>
                      <a:pt x="385" y="303"/>
                      <a:pt x="318" y="220"/>
                      <a:pt x="218" y="136"/>
                    </a:cubicBezTo>
                    <a:cubicBezTo>
                      <a:pt x="128" y="61"/>
                      <a:pt x="39" y="0"/>
                      <a:pt x="9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37" name="Google Shape;2237;p44"/>
              <p:cNvSpPr/>
              <p:nvPr/>
            </p:nvSpPr>
            <p:spPr>
              <a:xfrm>
                <a:off x="6753418" y="4594574"/>
                <a:ext cx="21474" cy="3782"/>
              </a:xfrm>
              <a:custGeom>
                <a:avLst/>
                <a:gdLst/>
                <a:ahLst/>
                <a:cxnLst/>
                <a:rect l="l" t="t" r="r" b="b"/>
                <a:pathLst>
                  <a:path w="670" h="118" extrusionOk="0">
                    <a:moveTo>
                      <a:pt x="669" y="0"/>
                    </a:moveTo>
                    <a:cubicBezTo>
                      <a:pt x="552" y="17"/>
                      <a:pt x="435" y="17"/>
                      <a:pt x="335" y="51"/>
                    </a:cubicBezTo>
                    <a:cubicBezTo>
                      <a:pt x="218" y="51"/>
                      <a:pt x="101" y="51"/>
                      <a:pt x="1" y="84"/>
                    </a:cubicBezTo>
                    <a:cubicBezTo>
                      <a:pt x="75" y="107"/>
                      <a:pt x="154" y="118"/>
                      <a:pt x="233" y="118"/>
                    </a:cubicBezTo>
                    <a:cubicBezTo>
                      <a:pt x="384" y="118"/>
                      <a:pt x="537" y="77"/>
                      <a:pt x="669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38" name="Google Shape;2238;p44"/>
              <p:cNvSpPr/>
              <p:nvPr/>
            </p:nvSpPr>
            <p:spPr>
              <a:xfrm>
                <a:off x="6707362" y="4601240"/>
                <a:ext cx="34838" cy="19070"/>
              </a:xfrm>
              <a:custGeom>
                <a:avLst/>
                <a:gdLst/>
                <a:ahLst/>
                <a:cxnLst/>
                <a:rect l="l" t="t" r="r" b="b"/>
                <a:pathLst>
                  <a:path w="1087" h="595" extrusionOk="0">
                    <a:moveTo>
                      <a:pt x="366" y="64"/>
                    </a:moveTo>
                    <a:cubicBezTo>
                      <a:pt x="425" y="64"/>
                      <a:pt x="483" y="73"/>
                      <a:pt x="536" y="93"/>
                    </a:cubicBezTo>
                    <a:cubicBezTo>
                      <a:pt x="669" y="127"/>
                      <a:pt x="769" y="193"/>
                      <a:pt x="853" y="277"/>
                    </a:cubicBezTo>
                    <a:cubicBezTo>
                      <a:pt x="907" y="342"/>
                      <a:pt x="947" y="406"/>
                      <a:pt x="982" y="475"/>
                    </a:cubicBezTo>
                    <a:lnTo>
                      <a:pt x="982" y="475"/>
                    </a:lnTo>
                    <a:cubicBezTo>
                      <a:pt x="917" y="469"/>
                      <a:pt x="826" y="460"/>
                      <a:pt x="719" y="444"/>
                    </a:cubicBezTo>
                    <a:cubicBezTo>
                      <a:pt x="602" y="427"/>
                      <a:pt x="469" y="394"/>
                      <a:pt x="352" y="360"/>
                    </a:cubicBezTo>
                    <a:cubicBezTo>
                      <a:pt x="268" y="344"/>
                      <a:pt x="201" y="310"/>
                      <a:pt x="135" y="277"/>
                    </a:cubicBezTo>
                    <a:cubicBezTo>
                      <a:pt x="68" y="244"/>
                      <a:pt x="51" y="177"/>
                      <a:pt x="101" y="127"/>
                    </a:cubicBezTo>
                    <a:cubicBezTo>
                      <a:pt x="182" y="86"/>
                      <a:pt x="275" y="64"/>
                      <a:pt x="366" y="64"/>
                    </a:cubicBezTo>
                    <a:close/>
                    <a:moveTo>
                      <a:pt x="370" y="1"/>
                    </a:moveTo>
                    <a:cubicBezTo>
                      <a:pt x="268" y="1"/>
                      <a:pt x="165" y="25"/>
                      <a:pt x="68" y="76"/>
                    </a:cubicBezTo>
                    <a:cubicBezTo>
                      <a:pt x="18" y="110"/>
                      <a:pt x="1" y="177"/>
                      <a:pt x="18" y="227"/>
                    </a:cubicBezTo>
                    <a:cubicBezTo>
                      <a:pt x="34" y="277"/>
                      <a:pt x="68" y="310"/>
                      <a:pt x="101" y="327"/>
                    </a:cubicBezTo>
                    <a:cubicBezTo>
                      <a:pt x="168" y="377"/>
                      <a:pt x="252" y="394"/>
                      <a:pt x="335" y="427"/>
                    </a:cubicBezTo>
                    <a:cubicBezTo>
                      <a:pt x="452" y="461"/>
                      <a:pt x="586" y="477"/>
                      <a:pt x="719" y="494"/>
                    </a:cubicBezTo>
                    <a:cubicBezTo>
                      <a:pt x="778" y="503"/>
                      <a:pt x="840" y="507"/>
                      <a:pt x="903" y="507"/>
                    </a:cubicBezTo>
                    <a:cubicBezTo>
                      <a:pt x="934" y="507"/>
                      <a:pt x="965" y="506"/>
                      <a:pt x="996" y="504"/>
                    </a:cubicBezTo>
                    <a:lnTo>
                      <a:pt x="996" y="504"/>
                    </a:lnTo>
                    <a:cubicBezTo>
                      <a:pt x="1010" y="533"/>
                      <a:pt x="1023" y="563"/>
                      <a:pt x="1037" y="594"/>
                    </a:cubicBezTo>
                    <a:cubicBezTo>
                      <a:pt x="1037" y="563"/>
                      <a:pt x="1037" y="532"/>
                      <a:pt x="1023" y="501"/>
                    </a:cubicBezTo>
                    <a:lnTo>
                      <a:pt x="1023" y="501"/>
                    </a:lnTo>
                    <a:cubicBezTo>
                      <a:pt x="1045" y="500"/>
                      <a:pt x="1066" y="497"/>
                      <a:pt x="1087" y="494"/>
                    </a:cubicBezTo>
                    <a:cubicBezTo>
                      <a:pt x="1087" y="487"/>
                      <a:pt x="1061" y="483"/>
                      <a:pt x="1015" y="478"/>
                    </a:cubicBezTo>
                    <a:lnTo>
                      <a:pt x="1015" y="478"/>
                    </a:lnTo>
                    <a:cubicBezTo>
                      <a:pt x="983" y="387"/>
                      <a:pt x="950" y="323"/>
                      <a:pt x="886" y="244"/>
                    </a:cubicBezTo>
                    <a:cubicBezTo>
                      <a:pt x="755" y="90"/>
                      <a:pt x="565" y="1"/>
                      <a:pt x="370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39" name="Google Shape;2239;p44"/>
              <p:cNvSpPr/>
              <p:nvPr/>
            </p:nvSpPr>
            <p:spPr>
              <a:xfrm>
                <a:off x="6736816" y="4594574"/>
                <a:ext cx="17179" cy="23044"/>
              </a:xfrm>
              <a:custGeom>
                <a:avLst/>
                <a:gdLst/>
                <a:ahLst/>
                <a:cxnLst/>
                <a:rect l="l" t="t" r="r" b="b"/>
                <a:pathLst>
                  <a:path w="536" h="719" extrusionOk="0">
                    <a:moveTo>
                      <a:pt x="419" y="0"/>
                    </a:moveTo>
                    <a:cubicBezTo>
                      <a:pt x="285" y="17"/>
                      <a:pt x="168" y="84"/>
                      <a:pt x="118" y="201"/>
                    </a:cubicBezTo>
                    <a:cubicBezTo>
                      <a:pt x="68" y="284"/>
                      <a:pt x="34" y="368"/>
                      <a:pt x="18" y="468"/>
                    </a:cubicBezTo>
                    <a:cubicBezTo>
                      <a:pt x="1" y="552"/>
                      <a:pt x="18" y="635"/>
                      <a:pt x="68" y="719"/>
                    </a:cubicBezTo>
                    <a:cubicBezTo>
                      <a:pt x="68" y="635"/>
                      <a:pt x="68" y="552"/>
                      <a:pt x="68" y="468"/>
                    </a:cubicBezTo>
                    <a:cubicBezTo>
                      <a:pt x="84" y="385"/>
                      <a:pt x="118" y="301"/>
                      <a:pt x="168" y="234"/>
                    </a:cubicBezTo>
                    <a:cubicBezTo>
                      <a:pt x="218" y="151"/>
                      <a:pt x="302" y="67"/>
                      <a:pt x="402" y="67"/>
                    </a:cubicBezTo>
                    <a:cubicBezTo>
                      <a:pt x="485" y="84"/>
                      <a:pt x="469" y="218"/>
                      <a:pt x="419" y="301"/>
                    </a:cubicBezTo>
                    <a:cubicBezTo>
                      <a:pt x="368" y="385"/>
                      <a:pt x="318" y="452"/>
                      <a:pt x="268" y="518"/>
                    </a:cubicBezTo>
                    <a:cubicBezTo>
                      <a:pt x="168" y="635"/>
                      <a:pt x="101" y="702"/>
                      <a:pt x="101" y="702"/>
                    </a:cubicBezTo>
                    <a:cubicBezTo>
                      <a:pt x="185" y="669"/>
                      <a:pt x="251" y="619"/>
                      <a:pt x="302" y="552"/>
                    </a:cubicBezTo>
                    <a:cubicBezTo>
                      <a:pt x="368" y="485"/>
                      <a:pt x="419" y="418"/>
                      <a:pt x="469" y="335"/>
                    </a:cubicBezTo>
                    <a:cubicBezTo>
                      <a:pt x="502" y="284"/>
                      <a:pt x="519" y="218"/>
                      <a:pt x="519" y="167"/>
                    </a:cubicBezTo>
                    <a:cubicBezTo>
                      <a:pt x="536" y="84"/>
                      <a:pt x="485" y="17"/>
                      <a:pt x="419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40" name="Google Shape;2240;p44"/>
              <p:cNvSpPr/>
              <p:nvPr/>
            </p:nvSpPr>
            <p:spPr>
              <a:xfrm>
                <a:off x="6871779" y="4598997"/>
                <a:ext cx="63235" cy="53972"/>
              </a:xfrm>
              <a:custGeom>
                <a:avLst/>
                <a:gdLst/>
                <a:ahLst/>
                <a:cxnLst/>
                <a:rect l="l" t="t" r="r" b="b"/>
                <a:pathLst>
                  <a:path w="1973" h="1684" extrusionOk="0">
                    <a:moveTo>
                      <a:pt x="1705" y="0"/>
                    </a:moveTo>
                    <a:cubicBezTo>
                      <a:pt x="1655" y="0"/>
                      <a:pt x="1604" y="4"/>
                      <a:pt x="1554" y="13"/>
                    </a:cubicBezTo>
                    <a:cubicBezTo>
                      <a:pt x="836" y="80"/>
                      <a:pt x="251" y="581"/>
                      <a:pt x="51" y="1266"/>
                    </a:cubicBezTo>
                    <a:cubicBezTo>
                      <a:pt x="34" y="1366"/>
                      <a:pt x="17" y="1466"/>
                      <a:pt x="0" y="1567"/>
                    </a:cubicBezTo>
                    <a:cubicBezTo>
                      <a:pt x="0" y="1600"/>
                      <a:pt x="0" y="1650"/>
                      <a:pt x="0" y="1684"/>
                    </a:cubicBezTo>
                    <a:cubicBezTo>
                      <a:pt x="17" y="1684"/>
                      <a:pt x="17" y="1517"/>
                      <a:pt x="101" y="1283"/>
                    </a:cubicBezTo>
                    <a:cubicBezTo>
                      <a:pt x="318" y="631"/>
                      <a:pt x="869" y="146"/>
                      <a:pt x="1554" y="46"/>
                    </a:cubicBezTo>
                    <a:cubicBezTo>
                      <a:pt x="1647" y="34"/>
                      <a:pt x="1728" y="31"/>
                      <a:pt x="1794" y="31"/>
                    </a:cubicBezTo>
                    <a:cubicBezTo>
                      <a:pt x="1865" y="31"/>
                      <a:pt x="1918" y="34"/>
                      <a:pt x="1947" y="34"/>
                    </a:cubicBezTo>
                    <a:cubicBezTo>
                      <a:pt x="1963" y="34"/>
                      <a:pt x="1972" y="33"/>
                      <a:pt x="1972" y="29"/>
                    </a:cubicBezTo>
                    <a:cubicBezTo>
                      <a:pt x="1939" y="13"/>
                      <a:pt x="1905" y="13"/>
                      <a:pt x="1855" y="13"/>
                    </a:cubicBezTo>
                    <a:cubicBezTo>
                      <a:pt x="1805" y="4"/>
                      <a:pt x="1755" y="0"/>
                      <a:pt x="1705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41" name="Google Shape;2241;p44"/>
              <p:cNvSpPr/>
              <p:nvPr/>
            </p:nvSpPr>
            <p:spPr>
              <a:xfrm>
                <a:off x="6913540" y="4524961"/>
                <a:ext cx="4327" cy="74452"/>
              </a:xfrm>
              <a:custGeom>
                <a:avLst/>
                <a:gdLst/>
                <a:ahLst/>
                <a:cxnLst/>
                <a:rect l="l" t="t" r="r" b="b"/>
                <a:pathLst>
                  <a:path w="135" h="2323" extrusionOk="0">
                    <a:moveTo>
                      <a:pt x="17" y="0"/>
                    </a:moveTo>
                    <a:lnTo>
                      <a:pt x="17" y="0"/>
                    </a:lnTo>
                    <a:cubicBezTo>
                      <a:pt x="1" y="385"/>
                      <a:pt x="1" y="769"/>
                      <a:pt x="34" y="1170"/>
                    </a:cubicBezTo>
                    <a:cubicBezTo>
                      <a:pt x="34" y="1554"/>
                      <a:pt x="68" y="1938"/>
                      <a:pt x="118" y="2323"/>
                    </a:cubicBezTo>
                    <a:cubicBezTo>
                      <a:pt x="134" y="1554"/>
                      <a:pt x="101" y="769"/>
                      <a:pt x="17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42" name="Google Shape;2242;p44"/>
              <p:cNvSpPr/>
              <p:nvPr/>
            </p:nvSpPr>
            <p:spPr>
              <a:xfrm>
                <a:off x="6795724" y="4636720"/>
                <a:ext cx="53043" cy="3590"/>
              </a:xfrm>
              <a:custGeom>
                <a:avLst/>
                <a:gdLst/>
                <a:ahLst/>
                <a:cxnLst/>
                <a:rect l="l" t="t" r="r" b="b"/>
                <a:pathLst>
                  <a:path w="1655" h="112" extrusionOk="0">
                    <a:moveTo>
                      <a:pt x="1609" y="1"/>
                    </a:moveTo>
                    <a:cubicBezTo>
                      <a:pt x="1495" y="1"/>
                      <a:pt x="1184" y="25"/>
                      <a:pt x="820" y="39"/>
                    </a:cubicBezTo>
                    <a:cubicBezTo>
                      <a:pt x="368" y="55"/>
                      <a:pt x="1" y="55"/>
                      <a:pt x="1" y="72"/>
                    </a:cubicBezTo>
                    <a:cubicBezTo>
                      <a:pt x="213" y="98"/>
                      <a:pt x="426" y="111"/>
                      <a:pt x="638" y="111"/>
                    </a:cubicBezTo>
                    <a:cubicBezTo>
                      <a:pt x="977" y="111"/>
                      <a:pt x="1316" y="77"/>
                      <a:pt x="1655" y="5"/>
                    </a:cubicBezTo>
                    <a:cubicBezTo>
                      <a:pt x="1652" y="2"/>
                      <a:pt x="1636" y="1"/>
                      <a:pt x="1609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43" name="Google Shape;2243;p44"/>
              <p:cNvSpPr/>
              <p:nvPr/>
            </p:nvSpPr>
            <p:spPr>
              <a:xfrm>
                <a:off x="6878734" y="4635694"/>
                <a:ext cx="5929" cy="10865"/>
              </a:xfrm>
              <a:custGeom>
                <a:avLst/>
                <a:gdLst/>
                <a:ahLst/>
                <a:cxnLst/>
                <a:rect l="l" t="t" r="r" b="b"/>
                <a:pathLst>
                  <a:path w="185" h="339" extrusionOk="0">
                    <a:moveTo>
                      <a:pt x="159" y="1"/>
                    </a:moveTo>
                    <a:cubicBezTo>
                      <a:pt x="134" y="1"/>
                      <a:pt x="78" y="50"/>
                      <a:pt x="34" y="138"/>
                    </a:cubicBezTo>
                    <a:cubicBezTo>
                      <a:pt x="1" y="238"/>
                      <a:pt x="17" y="338"/>
                      <a:pt x="34" y="338"/>
                    </a:cubicBezTo>
                    <a:cubicBezTo>
                      <a:pt x="51" y="338"/>
                      <a:pt x="67" y="255"/>
                      <a:pt x="101" y="171"/>
                    </a:cubicBezTo>
                    <a:cubicBezTo>
                      <a:pt x="134" y="87"/>
                      <a:pt x="184" y="21"/>
                      <a:pt x="168" y="4"/>
                    </a:cubicBezTo>
                    <a:cubicBezTo>
                      <a:pt x="166" y="2"/>
                      <a:pt x="163" y="1"/>
                      <a:pt x="159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44" name="Google Shape;2244;p44"/>
              <p:cNvSpPr/>
              <p:nvPr/>
            </p:nvSpPr>
            <p:spPr>
              <a:xfrm>
                <a:off x="6889983" y="4618676"/>
                <a:ext cx="7532" cy="7532"/>
              </a:xfrm>
              <a:custGeom>
                <a:avLst/>
                <a:gdLst/>
                <a:ahLst/>
                <a:cxnLst/>
                <a:rect l="l" t="t" r="r" b="b"/>
                <a:pathLst>
                  <a:path w="235" h="235" extrusionOk="0">
                    <a:moveTo>
                      <a:pt x="218" y="0"/>
                    </a:moveTo>
                    <a:cubicBezTo>
                      <a:pt x="201" y="0"/>
                      <a:pt x="151" y="34"/>
                      <a:pt x="84" y="101"/>
                    </a:cubicBezTo>
                    <a:cubicBezTo>
                      <a:pt x="34" y="151"/>
                      <a:pt x="0" y="217"/>
                      <a:pt x="17" y="234"/>
                    </a:cubicBezTo>
                    <a:cubicBezTo>
                      <a:pt x="34" y="234"/>
                      <a:pt x="84" y="201"/>
                      <a:pt x="134" y="134"/>
                    </a:cubicBezTo>
                    <a:cubicBezTo>
                      <a:pt x="201" y="84"/>
                      <a:pt x="234" y="17"/>
                      <a:pt x="218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45" name="Google Shape;2245;p44"/>
              <p:cNvSpPr/>
              <p:nvPr/>
            </p:nvSpPr>
            <p:spPr>
              <a:xfrm>
                <a:off x="6905527" y="4609637"/>
                <a:ext cx="10576" cy="4872"/>
              </a:xfrm>
              <a:custGeom>
                <a:avLst/>
                <a:gdLst/>
                <a:ahLst/>
                <a:cxnLst/>
                <a:rect l="l" t="t" r="r" b="b"/>
                <a:pathLst>
                  <a:path w="330" h="152" extrusionOk="0">
                    <a:moveTo>
                      <a:pt x="231" y="1"/>
                    </a:moveTo>
                    <a:cubicBezTo>
                      <a:pt x="203" y="1"/>
                      <a:pt x="170" y="5"/>
                      <a:pt x="134" y="15"/>
                    </a:cubicBezTo>
                    <a:cubicBezTo>
                      <a:pt x="33" y="65"/>
                      <a:pt x="0" y="132"/>
                      <a:pt x="0" y="149"/>
                    </a:cubicBezTo>
                    <a:cubicBezTo>
                      <a:pt x="2" y="151"/>
                      <a:pt x="6" y="152"/>
                      <a:pt x="10" y="152"/>
                    </a:cubicBezTo>
                    <a:cubicBezTo>
                      <a:pt x="35" y="152"/>
                      <a:pt x="95" y="111"/>
                      <a:pt x="167" y="82"/>
                    </a:cubicBezTo>
                    <a:cubicBezTo>
                      <a:pt x="251" y="48"/>
                      <a:pt x="318" y="48"/>
                      <a:pt x="318" y="32"/>
                    </a:cubicBezTo>
                    <a:cubicBezTo>
                      <a:pt x="329" y="20"/>
                      <a:pt x="293" y="1"/>
                      <a:pt x="231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46" name="Google Shape;2246;p44"/>
              <p:cNvSpPr/>
              <p:nvPr/>
            </p:nvSpPr>
            <p:spPr>
              <a:xfrm>
                <a:off x="6923732" y="4606497"/>
                <a:ext cx="5897" cy="2981"/>
              </a:xfrm>
              <a:custGeom>
                <a:avLst/>
                <a:gdLst/>
                <a:ahLst/>
                <a:cxnLst/>
                <a:rect l="l" t="t" r="r" b="b"/>
                <a:pathLst>
                  <a:path w="184" h="93" extrusionOk="0">
                    <a:moveTo>
                      <a:pt x="146" y="0"/>
                    </a:moveTo>
                    <a:cubicBezTo>
                      <a:pt x="130" y="0"/>
                      <a:pt x="109" y="4"/>
                      <a:pt x="84" y="13"/>
                    </a:cubicBezTo>
                    <a:cubicBezTo>
                      <a:pt x="34" y="29"/>
                      <a:pt x="0" y="63"/>
                      <a:pt x="17" y="80"/>
                    </a:cubicBezTo>
                    <a:cubicBezTo>
                      <a:pt x="17" y="88"/>
                      <a:pt x="29" y="92"/>
                      <a:pt x="48" y="92"/>
                    </a:cubicBezTo>
                    <a:cubicBezTo>
                      <a:pt x="67" y="92"/>
                      <a:pt x="92" y="88"/>
                      <a:pt x="117" y="80"/>
                    </a:cubicBezTo>
                    <a:cubicBezTo>
                      <a:pt x="151" y="63"/>
                      <a:pt x="184" y="29"/>
                      <a:pt x="184" y="13"/>
                    </a:cubicBezTo>
                    <a:cubicBezTo>
                      <a:pt x="176" y="4"/>
                      <a:pt x="163" y="0"/>
                      <a:pt x="146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47" name="Google Shape;2247;p44"/>
              <p:cNvSpPr/>
              <p:nvPr/>
            </p:nvSpPr>
            <p:spPr>
              <a:xfrm>
                <a:off x="6257540" y="3173765"/>
                <a:ext cx="1259020" cy="975826"/>
              </a:xfrm>
              <a:custGeom>
                <a:avLst/>
                <a:gdLst/>
                <a:ahLst/>
                <a:cxnLst/>
                <a:rect l="l" t="t" r="r" b="b"/>
                <a:pathLst>
                  <a:path w="39283" h="30447" extrusionOk="0">
                    <a:moveTo>
                      <a:pt x="13861" y="0"/>
                    </a:moveTo>
                    <a:cubicBezTo>
                      <a:pt x="13268" y="0"/>
                      <a:pt x="12839" y="48"/>
                      <a:pt x="12616" y="154"/>
                    </a:cubicBezTo>
                    <a:cubicBezTo>
                      <a:pt x="10360" y="1207"/>
                      <a:pt x="1" y="26854"/>
                      <a:pt x="1" y="26854"/>
                    </a:cubicBezTo>
                    <a:lnTo>
                      <a:pt x="8338" y="30447"/>
                    </a:lnTo>
                    <a:lnTo>
                      <a:pt x="17344" y="8659"/>
                    </a:lnTo>
                    <a:cubicBezTo>
                      <a:pt x="17344" y="8659"/>
                      <a:pt x="32074" y="14048"/>
                      <a:pt x="35942" y="14048"/>
                    </a:cubicBezTo>
                    <a:cubicBezTo>
                      <a:pt x="36138" y="14048"/>
                      <a:pt x="36305" y="14034"/>
                      <a:pt x="36442" y="14005"/>
                    </a:cubicBezTo>
                    <a:cubicBezTo>
                      <a:pt x="39283" y="13421"/>
                      <a:pt x="38096" y="3947"/>
                      <a:pt x="38096" y="3947"/>
                    </a:cubicBezTo>
                    <a:cubicBezTo>
                      <a:pt x="38096" y="3947"/>
                      <a:pt x="19245" y="0"/>
                      <a:pt x="13861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48" name="Google Shape;2248;p44"/>
              <p:cNvSpPr/>
              <p:nvPr/>
            </p:nvSpPr>
            <p:spPr>
              <a:xfrm>
                <a:off x="6643102" y="3344175"/>
                <a:ext cx="782437" cy="1239726"/>
              </a:xfrm>
              <a:custGeom>
                <a:avLst/>
                <a:gdLst/>
                <a:ahLst/>
                <a:cxnLst/>
                <a:rect l="l" t="t" r="r" b="b"/>
                <a:pathLst>
                  <a:path w="24413" h="38681" extrusionOk="0">
                    <a:moveTo>
                      <a:pt x="15690" y="0"/>
                    </a:moveTo>
                    <a:cubicBezTo>
                      <a:pt x="15339" y="117"/>
                      <a:pt x="1889" y="5647"/>
                      <a:pt x="937" y="7419"/>
                    </a:cubicBezTo>
                    <a:cubicBezTo>
                      <a:pt x="1" y="9190"/>
                      <a:pt x="2323" y="38680"/>
                      <a:pt x="2323" y="38680"/>
                    </a:cubicBezTo>
                    <a:lnTo>
                      <a:pt x="9976" y="38680"/>
                    </a:lnTo>
                    <a:lnTo>
                      <a:pt x="9491" y="12465"/>
                    </a:lnTo>
                    <a:lnTo>
                      <a:pt x="24412" y="8688"/>
                    </a:lnTo>
                    <a:lnTo>
                      <a:pt x="15690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49" name="Google Shape;2249;p44"/>
              <p:cNvSpPr/>
              <p:nvPr/>
            </p:nvSpPr>
            <p:spPr>
              <a:xfrm>
                <a:off x="6761463" y="3422345"/>
                <a:ext cx="666736" cy="202460"/>
              </a:xfrm>
              <a:custGeom>
                <a:avLst/>
                <a:gdLst/>
                <a:ahLst/>
                <a:cxnLst/>
                <a:rect l="l" t="t" r="r" b="b"/>
                <a:pathLst>
                  <a:path w="20803" h="6317" extrusionOk="0">
                    <a:moveTo>
                      <a:pt x="0" y="0"/>
                    </a:moveTo>
                    <a:lnTo>
                      <a:pt x="0" y="0"/>
                    </a:lnTo>
                    <a:cubicBezTo>
                      <a:pt x="67" y="34"/>
                      <a:pt x="134" y="67"/>
                      <a:pt x="201" y="101"/>
                    </a:cubicBezTo>
                    <a:lnTo>
                      <a:pt x="769" y="385"/>
                    </a:lnTo>
                    <a:cubicBezTo>
                      <a:pt x="1020" y="518"/>
                      <a:pt x="1320" y="652"/>
                      <a:pt x="1671" y="819"/>
                    </a:cubicBezTo>
                    <a:cubicBezTo>
                      <a:pt x="2039" y="986"/>
                      <a:pt x="2440" y="1170"/>
                      <a:pt x="2891" y="1354"/>
                    </a:cubicBezTo>
                    <a:cubicBezTo>
                      <a:pt x="3810" y="1738"/>
                      <a:pt x="4913" y="2139"/>
                      <a:pt x="6132" y="2590"/>
                    </a:cubicBezTo>
                    <a:cubicBezTo>
                      <a:pt x="7369" y="3008"/>
                      <a:pt x="8739" y="3442"/>
                      <a:pt x="10176" y="3860"/>
                    </a:cubicBezTo>
                    <a:cubicBezTo>
                      <a:pt x="13083" y="4696"/>
                      <a:pt x="15740" y="5314"/>
                      <a:pt x="17661" y="5715"/>
                    </a:cubicBezTo>
                    <a:cubicBezTo>
                      <a:pt x="18630" y="5915"/>
                      <a:pt x="19416" y="6082"/>
                      <a:pt x="19950" y="6183"/>
                    </a:cubicBezTo>
                    <a:lnTo>
                      <a:pt x="20585" y="6283"/>
                    </a:lnTo>
                    <a:cubicBezTo>
                      <a:pt x="20652" y="6300"/>
                      <a:pt x="20719" y="6316"/>
                      <a:pt x="20803" y="6316"/>
                    </a:cubicBezTo>
                    <a:cubicBezTo>
                      <a:pt x="20736" y="6283"/>
                      <a:pt x="20652" y="6266"/>
                      <a:pt x="20585" y="6249"/>
                    </a:cubicBezTo>
                    <a:lnTo>
                      <a:pt x="19967" y="6116"/>
                    </a:lnTo>
                    <a:lnTo>
                      <a:pt x="17695" y="5598"/>
                    </a:lnTo>
                    <a:cubicBezTo>
                      <a:pt x="15773" y="5163"/>
                      <a:pt x="13117" y="4528"/>
                      <a:pt x="10226" y="3693"/>
                    </a:cubicBezTo>
                    <a:cubicBezTo>
                      <a:pt x="8789" y="3275"/>
                      <a:pt x="7419" y="2841"/>
                      <a:pt x="6183" y="2423"/>
                    </a:cubicBezTo>
                    <a:cubicBezTo>
                      <a:pt x="4963" y="2005"/>
                      <a:pt x="3860" y="1604"/>
                      <a:pt x="2941" y="1237"/>
                    </a:cubicBezTo>
                    <a:cubicBezTo>
                      <a:pt x="2490" y="1053"/>
                      <a:pt x="2072" y="886"/>
                      <a:pt x="1721" y="736"/>
                    </a:cubicBezTo>
                    <a:cubicBezTo>
                      <a:pt x="1354" y="585"/>
                      <a:pt x="1053" y="452"/>
                      <a:pt x="802" y="335"/>
                    </a:cubicBezTo>
                    <a:lnTo>
                      <a:pt x="218" y="67"/>
                    </a:lnTo>
                    <a:cubicBezTo>
                      <a:pt x="151" y="34"/>
                      <a:pt x="84" y="17"/>
                      <a:pt x="0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50" name="Google Shape;2250;p44"/>
              <p:cNvSpPr/>
              <p:nvPr/>
            </p:nvSpPr>
            <p:spPr>
              <a:xfrm>
                <a:off x="6657044" y="3505867"/>
                <a:ext cx="139802" cy="292969"/>
              </a:xfrm>
              <a:custGeom>
                <a:avLst/>
                <a:gdLst/>
                <a:ahLst/>
                <a:cxnLst/>
                <a:rect l="l" t="t" r="r" b="b"/>
                <a:pathLst>
                  <a:path w="4362" h="9141" extrusionOk="0">
                    <a:moveTo>
                      <a:pt x="4344" y="1"/>
                    </a:moveTo>
                    <a:lnTo>
                      <a:pt x="4344" y="1"/>
                    </a:lnTo>
                    <a:cubicBezTo>
                      <a:pt x="4211" y="18"/>
                      <a:pt x="4060" y="68"/>
                      <a:pt x="3927" y="118"/>
                    </a:cubicBezTo>
                    <a:cubicBezTo>
                      <a:pt x="3542" y="252"/>
                      <a:pt x="3158" y="402"/>
                      <a:pt x="2791" y="569"/>
                    </a:cubicBezTo>
                    <a:cubicBezTo>
                      <a:pt x="2223" y="820"/>
                      <a:pt x="1721" y="1154"/>
                      <a:pt x="1253" y="1555"/>
                    </a:cubicBezTo>
                    <a:cubicBezTo>
                      <a:pt x="685" y="2056"/>
                      <a:pt x="301" y="2724"/>
                      <a:pt x="151" y="3476"/>
                    </a:cubicBezTo>
                    <a:cubicBezTo>
                      <a:pt x="0" y="4262"/>
                      <a:pt x="84" y="5030"/>
                      <a:pt x="151" y="5699"/>
                    </a:cubicBezTo>
                    <a:lnTo>
                      <a:pt x="318" y="7503"/>
                    </a:lnTo>
                    <a:lnTo>
                      <a:pt x="435" y="8706"/>
                    </a:lnTo>
                    <a:cubicBezTo>
                      <a:pt x="451" y="8856"/>
                      <a:pt x="468" y="9007"/>
                      <a:pt x="518" y="9141"/>
                    </a:cubicBezTo>
                    <a:cubicBezTo>
                      <a:pt x="518" y="8990"/>
                      <a:pt x="518" y="8840"/>
                      <a:pt x="502" y="8706"/>
                    </a:cubicBezTo>
                    <a:cubicBezTo>
                      <a:pt x="485" y="8372"/>
                      <a:pt x="468" y="7971"/>
                      <a:pt x="435" y="7486"/>
                    </a:cubicBezTo>
                    <a:lnTo>
                      <a:pt x="301" y="5682"/>
                    </a:lnTo>
                    <a:cubicBezTo>
                      <a:pt x="268" y="5014"/>
                      <a:pt x="167" y="4262"/>
                      <a:pt x="318" y="3510"/>
                    </a:cubicBezTo>
                    <a:cubicBezTo>
                      <a:pt x="451" y="2791"/>
                      <a:pt x="836" y="2156"/>
                      <a:pt x="1370" y="1672"/>
                    </a:cubicBezTo>
                    <a:cubicBezTo>
                      <a:pt x="1805" y="1271"/>
                      <a:pt x="2306" y="937"/>
                      <a:pt x="2841" y="686"/>
                    </a:cubicBezTo>
                    <a:cubicBezTo>
                      <a:pt x="3760" y="235"/>
                      <a:pt x="4361" y="34"/>
                      <a:pt x="4344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51" name="Google Shape;2251;p44"/>
              <p:cNvSpPr/>
              <p:nvPr/>
            </p:nvSpPr>
            <p:spPr>
              <a:xfrm>
                <a:off x="6887836" y="3717622"/>
                <a:ext cx="58940" cy="25832"/>
              </a:xfrm>
              <a:custGeom>
                <a:avLst/>
                <a:gdLst/>
                <a:ahLst/>
                <a:cxnLst/>
                <a:rect l="l" t="t" r="r" b="b"/>
                <a:pathLst>
                  <a:path w="1839" h="806" extrusionOk="0">
                    <a:moveTo>
                      <a:pt x="44" y="1"/>
                    </a:moveTo>
                    <a:cubicBezTo>
                      <a:pt x="29" y="1"/>
                      <a:pt x="20" y="4"/>
                      <a:pt x="17" y="11"/>
                    </a:cubicBezTo>
                    <a:cubicBezTo>
                      <a:pt x="1" y="44"/>
                      <a:pt x="385" y="261"/>
                      <a:pt x="886" y="478"/>
                    </a:cubicBezTo>
                    <a:cubicBezTo>
                      <a:pt x="1322" y="667"/>
                      <a:pt x="1695" y="806"/>
                      <a:pt x="1796" y="806"/>
                    </a:cubicBezTo>
                    <a:cubicBezTo>
                      <a:pt x="1811" y="806"/>
                      <a:pt x="1820" y="802"/>
                      <a:pt x="1822" y="796"/>
                    </a:cubicBezTo>
                    <a:cubicBezTo>
                      <a:pt x="1839" y="762"/>
                      <a:pt x="1454" y="545"/>
                      <a:pt x="953" y="328"/>
                    </a:cubicBezTo>
                    <a:cubicBezTo>
                      <a:pt x="517" y="139"/>
                      <a:pt x="145" y="1"/>
                      <a:pt x="44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52" name="Google Shape;2252;p44"/>
              <p:cNvSpPr/>
              <p:nvPr/>
            </p:nvSpPr>
            <p:spPr>
              <a:xfrm>
                <a:off x="6908732" y="3691693"/>
                <a:ext cx="42851" cy="54229"/>
              </a:xfrm>
              <a:custGeom>
                <a:avLst/>
                <a:gdLst/>
                <a:ahLst/>
                <a:cxnLst/>
                <a:rect l="l" t="t" r="r" b="b"/>
                <a:pathLst>
                  <a:path w="1337" h="1692" extrusionOk="0">
                    <a:moveTo>
                      <a:pt x="37" y="0"/>
                    </a:moveTo>
                    <a:cubicBezTo>
                      <a:pt x="36" y="0"/>
                      <a:pt x="35" y="1"/>
                      <a:pt x="34" y="1"/>
                    </a:cubicBezTo>
                    <a:cubicBezTo>
                      <a:pt x="0" y="18"/>
                      <a:pt x="151" y="502"/>
                      <a:pt x="502" y="970"/>
                    </a:cubicBezTo>
                    <a:cubicBezTo>
                      <a:pt x="849" y="1427"/>
                      <a:pt x="1240" y="1691"/>
                      <a:pt x="1297" y="1691"/>
                    </a:cubicBezTo>
                    <a:cubicBezTo>
                      <a:pt x="1300" y="1691"/>
                      <a:pt x="1303" y="1690"/>
                      <a:pt x="1304" y="1688"/>
                    </a:cubicBezTo>
                    <a:cubicBezTo>
                      <a:pt x="1337" y="1655"/>
                      <a:pt x="986" y="1338"/>
                      <a:pt x="652" y="870"/>
                    </a:cubicBezTo>
                    <a:cubicBezTo>
                      <a:pt x="308" y="427"/>
                      <a:pt x="92" y="0"/>
                      <a:pt x="37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53" name="Google Shape;2253;p44"/>
              <p:cNvSpPr/>
              <p:nvPr/>
            </p:nvSpPr>
            <p:spPr>
              <a:xfrm>
                <a:off x="6947833" y="3730794"/>
                <a:ext cx="56248" cy="88939"/>
              </a:xfrm>
              <a:custGeom>
                <a:avLst/>
                <a:gdLst/>
                <a:ahLst/>
                <a:cxnLst/>
                <a:rect l="l" t="t" r="r" b="b"/>
                <a:pathLst>
                  <a:path w="1755" h="2775" extrusionOk="0">
                    <a:moveTo>
                      <a:pt x="1754" y="1"/>
                    </a:moveTo>
                    <a:cubicBezTo>
                      <a:pt x="1615" y="70"/>
                      <a:pt x="1453" y="105"/>
                      <a:pt x="1286" y="105"/>
                    </a:cubicBezTo>
                    <a:cubicBezTo>
                      <a:pt x="1253" y="105"/>
                      <a:pt x="1220" y="104"/>
                      <a:pt x="1186" y="101"/>
                    </a:cubicBezTo>
                    <a:cubicBezTo>
                      <a:pt x="1059" y="81"/>
                      <a:pt x="932" y="73"/>
                      <a:pt x="805" y="73"/>
                    </a:cubicBezTo>
                    <a:cubicBezTo>
                      <a:pt x="715" y="73"/>
                      <a:pt x="625" y="77"/>
                      <a:pt x="535" y="84"/>
                    </a:cubicBezTo>
                    <a:cubicBezTo>
                      <a:pt x="384" y="101"/>
                      <a:pt x="251" y="168"/>
                      <a:pt x="150" y="285"/>
                    </a:cubicBezTo>
                    <a:cubicBezTo>
                      <a:pt x="50" y="402"/>
                      <a:pt x="0" y="552"/>
                      <a:pt x="0" y="719"/>
                    </a:cubicBezTo>
                    <a:cubicBezTo>
                      <a:pt x="0" y="1855"/>
                      <a:pt x="33" y="2757"/>
                      <a:pt x="84" y="2774"/>
                    </a:cubicBezTo>
                    <a:cubicBezTo>
                      <a:pt x="134" y="2774"/>
                      <a:pt x="167" y="1838"/>
                      <a:pt x="184" y="719"/>
                    </a:cubicBezTo>
                    <a:cubicBezTo>
                      <a:pt x="150" y="485"/>
                      <a:pt x="317" y="268"/>
                      <a:pt x="551" y="234"/>
                    </a:cubicBezTo>
                    <a:cubicBezTo>
                      <a:pt x="769" y="218"/>
                      <a:pt x="986" y="218"/>
                      <a:pt x="1186" y="218"/>
                    </a:cubicBezTo>
                    <a:cubicBezTo>
                      <a:pt x="1208" y="220"/>
                      <a:pt x="1230" y="221"/>
                      <a:pt x="1251" y="221"/>
                    </a:cubicBezTo>
                    <a:cubicBezTo>
                      <a:pt x="1393" y="221"/>
                      <a:pt x="1521" y="176"/>
                      <a:pt x="1637" y="118"/>
                    </a:cubicBezTo>
                    <a:cubicBezTo>
                      <a:pt x="1738" y="67"/>
                      <a:pt x="1754" y="1"/>
                      <a:pt x="1754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34E040-9E53-4B82-8858-92A01F3303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5973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5" imgW="393" imgH="403" progId="TCLayout.ActiveDocument.1">
                  <p:embed/>
                </p:oleObj>
              </mc:Choice>
              <mc:Fallback>
                <p:oleObj name="think-cell Slide" r:id="rId5" imgW="393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91" name="Google Shape;2591;p53"/>
          <p:cNvGrpSpPr/>
          <p:nvPr/>
        </p:nvGrpSpPr>
        <p:grpSpPr>
          <a:xfrm>
            <a:off x="1013157" y="1512733"/>
            <a:ext cx="6344201" cy="242261"/>
            <a:chOff x="1013157" y="1512733"/>
            <a:chExt cx="6344201" cy="242261"/>
          </a:xfrm>
        </p:grpSpPr>
        <p:sp>
          <p:nvSpPr>
            <p:cNvPr id="2592" name="Google Shape;2592;p53"/>
            <p:cNvSpPr/>
            <p:nvPr/>
          </p:nvSpPr>
          <p:spPr>
            <a:xfrm>
              <a:off x="1013157" y="1512733"/>
              <a:ext cx="6344201" cy="242074"/>
            </a:xfrm>
            <a:custGeom>
              <a:avLst/>
              <a:gdLst/>
              <a:ahLst/>
              <a:cxnLst/>
              <a:rect l="l" t="t" r="r" b="b"/>
              <a:pathLst>
                <a:path w="197947" h="7553" extrusionOk="0">
                  <a:moveTo>
                    <a:pt x="5631" y="0"/>
                  </a:moveTo>
                  <a:cubicBezTo>
                    <a:pt x="2523" y="0"/>
                    <a:pt x="0" y="1621"/>
                    <a:pt x="0" y="3626"/>
                  </a:cubicBezTo>
                  <a:lnTo>
                    <a:pt x="0" y="3927"/>
                  </a:lnTo>
                  <a:cubicBezTo>
                    <a:pt x="0" y="5932"/>
                    <a:pt x="2523" y="7552"/>
                    <a:pt x="5631" y="7552"/>
                  </a:cubicBezTo>
                  <a:lnTo>
                    <a:pt x="192316" y="7552"/>
                  </a:lnTo>
                  <a:cubicBezTo>
                    <a:pt x="195424" y="7552"/>
                    <a:pt x="197947" y="5932"/>
                    <a:pt x="197947" y="3927"/>
                  </a:cubicBezTo>
                  <a:lnTo>
                    <a:pt x="197947" y="3626"/>
                  </a:lnTo>
                  <a:cubicBezTo>
                    <a:pt x="197947" y="1621"/>
                    <a:pt x="195424" y="0"/>
                    <a:pt x="19231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3" name="Google Shape;2593;p53"/>
            <p:cNvSpPr/>
            <p:nvPr/>
          </p:nvSpPr>
          <p:spPr>
            <a:xfrm>
              <a:off x="5771140" y="1512921"/>
              <a:ext cx="1586219" cy="242074"/>
            </a:xfrm>
            <a:custGeom>
              <a:avLst/>
              <a:gdLst/>
              <a:ahLst/>
              <a:cxnLst/>
              <a:rect l="l" t="t" r="r" b="b"/>
              <a:pathLst>
                <a:path w="49492" h="7553" extrusionOk="0">
                  <a:moveTo>
                    <a:pt x="1" y="0"/>
                  </a:moveTo>
                  <a:lnTo>
                    <a:pt x="1" y="7552"/>
                  </a:lnTo>
                  <a:lnTo>
                    <a:pt x="43861" y="7552"/>
                  </a:lnTo>
                  <a:cubicBezTo>
                    <a:pt x="46969" y="7552"/>
                    <a:pt x="49492" y="5932"/>
                    <a:pt x="49492" y="3927"/>
                  </a:cubicBezTo>
                  <a:lnTo>
                    <a:pt x="49492" y="3626"/>
                  </a:lnTo>
                  <a:cubicBezTo>
                    <a:pt x="49492" y="1621"/>
                    <a:pt x="46969" y="0"/>
                    <a:pt x="43861" y="0"/>
                  </a:cubicBezTo>
                  <a:close/>
                </a:path>
              </a:pathLst>
            </a:custGeom>
            <a:solidFill>
              <a:schemeClr val="dk2">
                <a:alpha val="3202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4" name="Google Shape;2594;p53"/>
            <p:cNvSpPr/>
            <p:nvPr/>
          </p:nvSpPr>
          <p:spPr>
            <a:xfrm>
              <a:off x="1013157" y="1512921"/>
              <a:ext cx="1588879" cy="242074"/>
            </a:xfrm>
            <a:custGeom>
              <a:avLst/>
              <a:gdLst/>
              <a:ahLst/>
              <a:cxnLst/>
              <a:rect l="l" t="t" r="r" b="b"/>
              <a:pathLst>
                <a:path w="49575" h="7553" extrusionOk="0">
                  <a:moveTo>
                    <a:pt x="5631" y="0"/>
                  </a:moveTo>
                  <a:cubicBezTo>
                    <a:pt x="2523" y="0"/>
                    <a:pt x="0" y="1621"/>
                    <a:pt x="0" y="3626"/>
                  </a:cubicBezTo>
                  <a:lnTo>
                    <a:pt x="0" y="3927"/>
                  </a:lnTo>
                  <a:cubicBezTo>
                    <a:pt x="0" y="5932"/>
                    <a:pt x="2523" y="7552"/>
                    <a:pt x="5631" y="7552"/>
                  </a:cubicBezTo>
                  <a:lnTo>
                    <a:pt x="49575" y="7552"/>
                  </a:lnTo>
                  <a:lnTo>
                    <a:pt x="49575" y="0"/>
                  </a:lnTo>
                  <a:close/>
                </a:path>
              </a:pathLst>
            </a:custGeom>
            <a:solidFill>
              <a:schemeClr val="lt1">
                <a:alpha val="5625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5" name="Google Shape;2595;p53"/>
            <p:cNvSpPr/>
            <p:nvPr/>
          </p:nvSpPr>
          <p:spPr>
            <a:xfrm>
              <a:off x="2602004" y="1512921"/>
              <a:ext cx="1588879" cy="242074"/>
            </a:xfrm>
            <a:custGeom>
              <a:avLst/>
              <a:gdLst/>
              <a:ahLst/>
              <a:cxnLst/>
              <a:rect l="l" t="t" r="r" b="b"/>
              <a:pathLst>
                <a:path w="49575" h="7553" extrusionOk="0">
                  <a:moveTo>
                    <a:pt x="1" y="0"/>
                  </a:moveTo>
                  <a:lnTo>
                    <a:pt x="1" y="7552"/>
                  </a:lnTo>
                  <a:lnTo>
                    <a:pt x="49575" y="7552"/>
                  </a:lnTo>
                  <a:lnTo>
                    <a:pt x="49575" y="0"/>
                  </a:lnTo>
                  <a:close/>
                </a:path>
              </a:pathLst>
            </a:custGeom>
            <a:solidFill>
              <a:schemeClr val="lt1">
                <a:alpha val="2277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6" name="Google Shape;2596;p53"/>
            <p:cNvSpPr/>
            <p:nvPr/>
          </p:nvSpPr>
          <p:spPr>
            <a:xfrm>
              <a:off x="4187646" y="1512921"/>
              <a:ext cx="1586219" cy="242074"/>
            </a:xfrm>
            <a:custGeom>
              <a:avLst/>
              <a:gdLst/>
              <a:ahLst/>
              <a:cxnLst/>
              <a:rect l="l" t="t" r="r" b="b"/>
              <a:pathLst>
                <a:path w="49492" h="7553" extrusionOk="0">
                  <a:moveTo>
                    <a:pt x="1" y="0"/>
                  </a:moveTo>
                  <a:lnTo>
                    <a:pt x="1" y="7552"/>
                  </a:lnTo>
                  <a:lnTo>
                    <a:pt x="49491" y="7552"/>
                  </a:lnTo>
                  <a:lnTo>
                    <a:pt x="4949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597" name="Google Shape;2597;p53"/>
          <p:cNvGrpSpPr/>
          <p:nvPr/>
        </p:nvGrpSpPr>
        <p:grpSpPr>
          <a:xfrm>
            <a:off x="5507689" y="1453280"/>
            <a:ext cx="1333440" cy="3222403"/>
            <a:chOff x="5507689" y="1443155"/>
            <a:chExt cx="1333440" cy="3222403"/>
          </a:xfrm>
        </p:grpSpPr>
        <p:sp>
          <p:nvSpPr>
            <p:cNvPr id="2598" name="Google Shape;2598;p53"/>
            <p:cNvSpPr/>
            <p:nvPr/>
          </p:nvSpPr>
          <p:spPr>
            <a:xfrm>
              <a:off x="5560155" y="1443155"/>
              <a:ext cx="413445" cy="353415"/>
            </a:xfrm>
            <a:custGeom>
              <a:avLst/>
              <a:gdLst/>
              <a:ahLst/>
              <a:cxnLst/>
              <a:rect l="l" t="t" r="r" b="b"/>
              <a:pathLst>
                <a:path w="12900" h="11027" extrusionOk="0">
                  <a:moveTo>
                    <a:pt x="7400" y="0"/>
                  </a:moveTo>
                  <a:cubicBezTo>
                    <a:pt x="7390" y="0"/>
                    <a:pt x="7379" y="0"/>
                    <a:pt x="7369" y="1"/>
                  </a:cubicBezTo>
                  <a:cubicBezTo>
                    <a:pt x="2457" y="1"/>
                    <a:pt x="1" y="5932"/>
                    <a:pt x="3476" y="9407"/>
                  </a:cubicBezTo>
                  <a:cubicBezTo>
                    <a:pt x="4530" y="10461"/>
                    <a:pt x="5945" y="11026"/>
                    <a:pt x="7389" y="11026"/>
                  </a:cubicBezTo>
                  <a:cubicBezTo>
                    <a:pt x="8096" y="11026"/>
                    <a:pt x="8810" y="10891"/>
                    <a:pt x="9491" y="10610"/>
                  </a:cubicBezTo>
                  <a:cubicBezTo>
                    <a:pt x="11546" y="9742"/>
                    <a:pt x="12883" y="7737"/>
                    <a:pt x="12900" y="5514"/>
                  </a:cubicBezTo>
                  <a:cubicBezTo>
                    <a:pt x="12900" y="2467"/>
                    <a:pt x="10443" y="0"/>
                    <a:pt x="740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9" name="Google Shape;2599;p53"/>
            <p:cNvSpPr/>
            <p:nvPr/>
          </p:nvSpPr>
          <p:spPr>
            <a:xfrm>
              <a:off x="5605153" y="1443155"/>
              <a:ext cx="413445" cy="353415"/>
            </a:xfrm>
            <a:custGeom>
              <a:avLst/>
              <a:gdLst/>
              <a:ahLst/>
              <a:cxnLst/>
              <a:rect l="l" t="t" r="r" b="b"/>
              <a:pathLst>
                <a:path w="12900" h="11027" extrusionOk="0">
                  <a:moveTo>
                    <a:pt x="7369" y="1"/>
                  </a:moveTo>
                  <a:cubicBezTo>
                    <a:pt x="2456" y="1"/>
                    <a:pt x="0" y="5932"/>
                    <a:pt x="3476" y="9407"/>
                  </a:cubicBezTo>
                  <a:cubicBezTo>
                    <a:pt x="4530" y="10461"/>
                    <a:pt x="5945" y="11026"/>
                    <a:pt x="7388" y="11026"/>
                  </a:cubicBezTo>
                  <a:cubicBezTo>
                    <a:pt x="8095" y="11026"/>
                    <a:pt x="8809" y="10891"/>
                    <a:pt x="9491" y="10610"/>
                  </a:cubicBezTo>
                  <a:cubicBezTo>
                    <a:pt x="11546" y="9742"/>
                    <a:pt x="12899" y="7737"/>
                    <a:pt x="12899" y="5514"/>
                  </a:cubicBezTo>
                  <a:cubicBezTo>
                    <a:pt x="12899" y="2457"/>
                    <a:pt x="10426" y="1"/>
                    <a:pt x="7369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0" name="Google Shape;2600;p53"/>
            <p:cNvSpPr/>
            <p:nvPr/>
          </p:nvSpPr>
          <p:spPr>
            <a:xfrm>
              <a:off x="5674766" y="1463699"/>
              <a:ext cx="321333" cy="311879"/>
            </a:xfrm>
            <a:custGeom>
              <a:avLst/>
              <a:gdLst/>
              <a:ahLst/>
              <a:cxnLst/>
              <a:rect l="l" t="t" r="r" b="b"/>
              <a:pathLst>
                <a:path w="10026" h="9731" extrusionOk="0">
                  <a:moveTo>
                    <a:pt x="5218" y="1"/>
                  </a:moveTo>
                  <a:cubicBezTo>
                    <a:pt x="4649" y="1"/>
                    <a:pt x="4082" y="97"/>
                    <a:pt x="3543" y="295"/>
                  </a:cubicBezTo>
                  <a:cubicBezTo>
                    <a:pt x="3108" y="446"/>
                    <a:pt x="2690" y="663"/>
                    <a:pt x="2306" y="947"/>
                  </a:cubicBezTo>
                  <a:cubicBezTo>
                    <a:pt x="1905" y="1231"/>
                    <a:pt x="1554" y="1582"/>
                    <a:pt x="1270" y="1983"/>
                  </a:cubicBezTo>
                  <a:cubicBezTo>
                    <a:pt x="0" y="3687"/>
                    <a:pt x="0" y="6043"/>
                    <a:pt x="1270" y="7747"/>
                  </a:cubicBezTo>
                  <a:cubicBezTo>
                    <a:pt x="1554" y="8148"/>
                    <a:pt x="1905" y="8499"/>
                    <a:pt x="2306" y="8783"/>
                  </a:cubicBezTo>
                  <a:cubicBezTo>
                    <a:pt x="2690" y="9067"/>
                    <a:pt x="3108" y="9284"/>
                    <a:pt x="3543" y="9451"/>
                  </a:cubicBezTo>
                  <a:cubicBezTo>
                    <a:pt x="4078" y="9637"/>
                    <a:pt x="4642" y="9730"/>
                    <a:pt x="5206" y="9730"/>
                  </a:cubicBezTo>
                  <a:cubicBezTo>
                    <a:pt x="5505" y="9730"/>
                    <a:pt x="5804" y="9704"/>
                    <a:pt x="6099" y="9652"/>
                  </a:cubicBezTo>
                  <a:cubicBezTo>
                    <a:pt x="7469" y="9385"/>
                    <a:pt x="8655" y="8549"/>
                    <a:pt x="9374" y="7346"/>
                  </a:cubicBezTo>
                  <a:cubicBezTo>
                    <a:pt x="9608" y="6945"/>
                    <a:pt x="9792" y="6511"/>
                    <a:pt x="9892" y="6043"/>
                  </a:cubicBezTo>
                  <a:cubicBezTo>
                    <a:pt x="9925" y="5876"/>
                    <a:pt x="9959" y="5709"/>
                    <a:pt x="9975" y="5542"/>
                  </a:cubicBezTo>
                  <a:cubicBezTo>
                    <a:pt x="10009" y="5425"/>
                    <a:pt x="10009" y="5291"/>
                    <a:pt x="10009" y="5174"/>
                  </a:cubicBezTo>
                  <a:cubicBezTo>
                    <a:pt x="10009" y="5074"/>
                    <a:pt x="10009" y="5007"/>
                    <a:pt x="10009" y="4940"/>
                  </a:cubicBezTo>
                  <a:cubicBezTo>
                    <a:pt x="10025" y="4923"/>
                    <a:pt x="10025" y="4890"/>
                    <a:pt x="10009" y="4873"/>
                  </a:cubicBezTo>
                  <a:cubicBezTo>
                    <a:pt x="9992" y="5258"/>
                    <a:pt x="9925" y="5659"/>
                    <a:pt x="9842" y="6043"/>
                  </a:cubicBezTo>
                  <a:cubicBezTo>
                    <a:pt x="9725" y="6477"/>
                    <a:pt x="9541" y="6912"/>
                    <a:pt x="9307" y="7296"/>
                  </a:cubicBezTo>
                  <a:cubicBezTo>
                    <a:pt x="8417" y="8762"/>
                    <a:pt x="6851" y="9608"/>
                    <a:pt x="5221" y="9608"/>
                  </a:cubicBezTo>
                  <a:cubicBezTo>
                    <a:pt x="4678" y="9608"/>
                    <a:pt x="4127" y="9514"/>
                    <a:pt x="3593" y="9318"/>
                  </a:cubicBezTo>
                  <a:cubicBezTo>
                    <a:pt x="3158" y="9167"/>
                    <a:pt x="2757" y="8950"/>
                    <a:pt x="2390" y="8683"/>
                  </a:cubicBezTo>
                  <a:cubicBezTo>
                    <a:pt x="2206" y="8532"/>
                    <a:pt x="2022" y="8382"/>
                    <a:pt x="1855" y="8215"/>
                  </a:cubicBezTo>
                  <a:cubicBezTo>
                    <a:pt x="1688" y="8048"/>
                    <a:pt x="1538" y="7864"/>
                    <a:pt x="1387" y="7664"/>
                  </a:cubicBezTo>
                  <a:cubicBezTo>
                    <a:pt x="167" y="6009"/>
                    <a:pt x="167" y="3737"/>
                    <a:pt x="1387" y="2066"/>
                  </a:cubicBezTo>
                  <a:cubicBezTo>
                    <a:pt x="1671" y="1682"/>
                    <a:pt x="2005" y="1331"/>
                    <a:pt x="2390" y="1064"/>
                  </a:cubicBezTo>
                  <a:cubicBezTo>
                    <a:pt x="2757" y="780"/>
                    <a:pt x="3158" y="563"/>
                    <a:pt x="3593" y="412"/>
                  </a:cubicBezTo>
                  <a:cubicBezTo>
                    <a:pt x="4127" y="216"/>
                    <a:pt x="4678" y="122"/>
                    <a:pt x="5221" y="122"/>
                  </a:cubicBezTo>
                  <a:cubicBezTo>
                    <a:pt x="6851" y="122"/>
                    <a:pt x="8417" y="968"/>
                    <a:pt x="9307" y="2434"/>
                  </a:cubicBezTo>
                  <a:cubicBezTo>
                    <a:pt x="9541" y="2818"/>
                    <a:pt x="9725" y="3253"/>
                    <a:pt x="9842" y="3704"/>
                  </a:cubicBezTo>
                  <a:cubicBezTo>
                    <a:pt x="9925" y="4088"/>
                    <a:pt x="9992" y="4472"/>
                    <a:pt x="10009" y="4873"/>
                  </a:cubicBezTo>
                  <a:lnTo>
                    <a:pt x="10009" y="4857"/>
                  </a:lnTo>
                  <a:cubicBezTo>
                    <a:pt x="10025" y="4840"/>
                    <a:pt x="10025" y="4806"/>
                    <a:pt x="10009" y="4790"/>
                  </a:cubicBezTo>
                  <a:cubicBezTo>
                    <a:pt x="10009" y="4723"/>
                    <a:pt x="10009" y="4656"/>
                    <a:pt x="10009" y="4556"/>
                  </a:cubicBezTo>
                  <a:cubicBezTo>
                    <a:pt x="10009" y="4439"/>
                    <a:pt x="10009" y="4305"/>
                    <a:pt x="9975" y="4188"/>
                  </a:cubicBezTo>
                  <a:cubicBezTo>
                    <a:pt x="9959" y="4021"/>
                    <a:pt x="9925" y="3854"/>
                    <a:pt x="9892" y="3687"/>
                  </a:cubicBezTo>
                  <a:cubicBezTo>
                    <a:pt x="9775" y="3236"/>
                    <a:pt x="9608" y="2785"/>
                    <a:pt x="9374" y="2384"/>
                  </a:cubicBezTo>
                  <a:cubicBezTo>
                    <a:pt x="8655" y="1181"/>
                    <a:pt x="7469" y="345"/>
                    <a:pt x="6099" y="78"/>
                  </a:cubicBezTo>
                  <a:cubicBezTo>
                    <a:pt x="5808" y="27"/>
                    <a:pt x="5513" y="1"/>
                    <a:pt x="521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1" name="Google Shape;2601;p53"/>
            <p:cNvSpPr/>
            <p:nvPr/>
          </p:nvSpPr>
          <p:spPr>
            <a:xfrm>
              <a:off x="5758288" y="1593085"/>
              <a:ext cx="40191" cy="60607"/>
            </a:xfrm>
            <a:custGeom>
              <a:avLst/>
              <a:gdLst/>
              <a:ahLst/>
              <a:cxnLst/>
              <a:rect l="l" t="t" r="r" b="b"/>
              <a:pathLst>
                <a:path w="1254" h="1891" extrusionOk="0">
                  <a:moveTo>
                    <a:pt x="1235" y="0"/>
                  </a:moveTo>
                  <a:cubicBezTo>
                    <a:pt x="1182" y="0"/>
                    <a:pt x="673" y="379"/>
                    <a:pt x="68" y="870"/>
                  </a:cubicBezTo>
                  <a:lnTo>
                    <a:pt x="1" y="920"/>
                  </a:lnTo>
                  <a:lnTo>
                    <a:pt x="68" y="987"/>
                  </a:lnTo>
                  <a:lnTo>
                    <a:pt x="84" y="987"/>
                  </a:lnTo>
                  <a:cubicBezTo>
                    <a:pt x="662" y="1501"/>
                    <a:pt x="1163" y="1891"/>
                    <a:pt x="1231" y="1891"/>
                  </a:cubicBezTo>
                  <a:cubicBezTo>
                    <a:pt x="1234" y="1891"/>
                    <a:pt x="1236" y="1890"/>
                    <a:pt x="1237" y="1889"/>
                  </a:cubicBezTo>
                  <a:cubicBezTo>
                    <a:pt x="1254" y="1856"/>
                    <a:pt x="812" y="1430"/>
                    <a:pt x="220" y="930"/>
                  </a:cubicBezTo>
                  <a:lnTo>
                    <a:pt x="220" y="930"/>
                  </a:lnTo>
                  <a:cubicBezTo>
                    <a:pt x="820" y="438"/>
                    <a:pt x="1253" y="33"/>
                    <a:pt x="1237" y="1"/>
                  </a:cubicBezTo>
                  <a:cubicBezTo>
                    <a:pt x="1237" y="1"/>
                    <a:pt x="1236" y="0"/>
                    <a:pt x="123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2" name="Google Shape;2602;p53"/>
            <p:cNvSpPr/>
            <p:nvPr/>
          </p:nvSpPr>
          <p:spPr>
            <a:xfrm>
              <a:off x="5900237" y="1593085"/>
              <a:ext cx="40704" cy="60607"/>
            </a:xfrm>
            <a:custGeom>
              <a:avLst/>
              <a:gdLst/>
              <a:ahLst/>
              <a:cxnLst/>
              <a:rect l="l" t="t" r="r" b="b"/>
              <a:pathLst>
                <a:path w="1270" h="1891" extrusionOk="0">
                  <a:moveTo>
                    <a:pt x="35" y="0"/>
                  </a:moveTo>
                  <a:cubicBezTo>
                    <a:pt x="34" y="0"/>
                    <a:pt x="33" y="1"/>
                    <a:pt x="33" y="1"/>
                  </a:cubicBezTo>
                  <a:cubicBezTo>
                    <a:pt x="1" y="33"/>
                    <a:pt x="457" y="460"/>
                    <a:pt x="1035" y="975"/>
                  </a:cubicBezTo>
                  <a:lnTo>
                    <a:pt x="1035" y="975"/>
                  </a:lnTo>
                  <a:cubicBezTo>
                    <a:pt x="449" y="1452"/>
                    <a:pt x="1" y="1857"/>
                    <a:pt x="33" y="1889"/>
                  </a:cubicBezTo>
                  <a:cubicBezTo>
                    <a:pt x="34" y="1890"/>
                    <a:pt x="35" y="1891"/>
                    <a:pt x="38" y="1891"/>
                  </a:cubicBezTo>
                  <a:cubicBezTo>
                    <a:pt x="92" y="1891"/>
                    <a:pt x="594" y="1518"/>
                    <a:pt x="1203" y="1037"/>
                  </a:cubicBezTo>
                  <a:lnTo>
                    <a:pt x="1269" y="970"/>
                  </a:lnTo>
                  <a:lnTo>
                    <a:pt x="1203" y="920"/>
                  </a:lnTo>
                  <a:lnTo>
                    <a:pt x="1186" y="903"/>
                  </a:lnTo>
                  <a:cubicBezTo>
                    <a:pt x="580" y="396"/>
                    <a:pt x="71" y="0"/>
                    <a:pt x="3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3" name="Google Shape;2603;p53"/>
            <p:cNvSpPr/>
            <p:nvPr/>
          </p:nvSpPr>
          <p:spPr>
            <a:xfrm>
              <a:off x="5762038" y="1620424"/>
              <a:ext cx="170346" cy="4840"/>
            </a:xfrm>
            <a:custGeom>
              <a:avLst/>
              <a:gdLst/>
              <a:ahLst/>
              <a:cxnLst/>
              <a:rect l="l" t="t" r="r" b="b"/>
              <a:pathLst>
                <a:path w="5315" h="151" extrusionOk="0">
                  <a:moveTo>
                    <a:pt x="2657" y="0"/>
                  </a:moveTo>
                  <a:cubicBezTo>
                    <a:pt x="1187" y="0"/>
                    <a:pt x="1" y="33"/>
                    <a:pt x="1" y="67"/>
                  </a:cubicBezTo>
                  <a:cubicBezTo>
                    <a:pt x="1" y="117"/>
                    <a:pt x="1187" y="150"/>
                    <a:pt x="2657" y="150"/>
                  </a:cubicBezTo>
                  <a:cubicBezTo>
                    <a:pt x="4128" y="150"/>
                    <a:pt x="5314" y="117"/>
                    <a:pt x="5314" y="67"/>
                  </a:cubicBezTo>
                  <a:cubicBezTo>
                    <a:pt x="5314" y="33"/>
                    <a:pt x="4128" y="0"/>
                    <a:pt x="265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4" name="Google Shape;2604;p53"/>
            <p:cNvSpPr/>
            <p:nvPr/>
          </p:nvSpPr>
          <p:spPr>
            <a:xfrm>
              <a:off x="5824183" y="2854766"/>
              <a:ext cx="858427" cy="1752750"/>
            </a:xfrm>
            <a:custGeom>
              <a:avLst/>
              <a:gdLst/>
              <a:ahLst/>
              <a:cxnLst/>
              <a:rect l="l" t="t" r="r" b="b"/>
              <a:pathLst>
                <a:path w="26784" h="54688" extrusionOk="0">
                  <a:moveTo>
                    <a:pt x="15054" y="0"/>
                  </a:moveTo>
                  <a:lnTo>
                    <a:pt x="1353" y="368"/>
                  </a:lnTo>
                  <a:cubicBezTo>
                    <a:pt x="284" y="2306"/>
                    <a:pt x="150" y="6934"/>
                    <a:pt x="150" y="6934"/>
                  </a:cubicBezTo>
                  <a:cubicBezTo>
                    <a:pt x="0" y="7502"/>
                    <a:pt x="2105" y="53635"/>
                    <a:pt x="2105" y="53635"/>
                  </a:cubicBezTo>
                  <a:lnTo>
                    <a:pt x="7786" y="53618"/>
                  </a:lnTo>
                  <a:lnTo>
                    <a:pt x="9340" y="9875"/>
                  </a:lnTo>
                  <a:lnTo>
                    <a:pt x="21587" y="54687"/>
                  </a:lnTo>
                  <a:lnTo>
                    <a:pt x="26784" y="54570"/>
                  </a:lnTo>
                  <a:lnTo>
                    <a:pt x="17611" y="7151"/>
                  </a:lnTo>
                  <a:lnTo>
                    <a:pt x="17628" y="7151"/>
                  </a:lnTo>
                  <a:cubicBezTo>
                    <a:pt x="17611" y="7085"/>
                    <a:pt x="17594" y="7018"/>
                    <a:pt x="17577" y="6951"/>
                  </a:cubicBezTo>
                  <a:lnTo>
                    <a:pt x="17577" y="6934"/>
                  </a:lnTo>
                  <a:cubicBezTo>
                    <a:pt x="16174" y="1370"/>
                    <a:pt x="15054" y="0"/>
                    <a:pt x="1505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5" name="Google Shape;2605;p53"/>
            <p:cNvSpPr/>
            <p:nvPr/>
          </p:nvSpPr>
          <p:spPr>
            <a:xfrm>
              <a:off x="6019624" y="3123441"/>
              <a:ext cx="220119" cy="57081"/>
            </a:xfrm>
            <a:custGeom>
              <a:avLst/>
              <a:gdLst/>
              <a:ahLst/>
              <a:cxnLst/>
              <a:rect l="l" t="t" r="r" b="b"/>
              <a:pathLst>
                <a:path w="6868" h="1781" extrusionOk="0">
                  <a:moveTo>
                    <a:pt x="6848" y="0"/>
                  </a:moveTo>
                  <a:cubicBezTo>
                    <a:pt x="6661" y="0"/>
                    <a:pt x="5197" y="352"/>
                    <a:pt x="3409" y="807"/>
                  </a:cubicBezTo>
                  <a:cubicBezTo>
                    <a:pt x="1521" y="1308"/>
                    <a:pt x="1" y="1743"/>
                    <a:pt x="17" y="1776"/>
                  </a:cubicBezTo>
                  <a:cubicBezTo>
                    <a:pt x="17" y="1779"/>
                    <a:pt x="23" y="1781"/>
                    <a:pt x="35" y="1781"/>
                  </a:cubicBezTo>
                  <a:cubicBezTo>
                    <a:pt x="209" y="1781"/>
                    <a:pt x="1687" y="1429"/>
                    <a:pt x="3459" y="974"/>
                  </a:cubicBezTo>
                  <a:cubicBezTo>
                    <a:pt x="5347" y="489"/>
                    <a:pt x="6868" y="55"/>
                    <a:pt x="6868" y="5"/>
                  </a:cubicBezTo>
                  <a:cubicBezTo>
                    <a:pt x="6867" y="2"/>
                    <a:pt x="6860" y="0"/>
                    <a:pt x="6848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6" name="Google Shape;2606;p53"/>
            <p:cNvSpPr/>
            <p:nvPr/>
          </p:nvSpPr>
          <p:spPr>
            <a:xfrm>
              <a:off x="5879854" y="3032547"/>
              <a:ext cx="47178" cy="1559970"/>
            </a:xfrm>
            <a:custGeom>
              <a:avLst/>
              <a:gdLst/>
              <a:ahLst/>
              <a:cxnLst/>
              <a:rect l="l" t="t" r="r" b="b"/>
              <a:pathLst>
                <a:path w="1472" h="48673" extrusionOk="0">
                  <a:moveTo>
                    <a:pt x="34" y="0"/>
                  </a:moveTo>
                  <a:lnTo>
                    <a:pt x="34" y="0"/>
                  </a:lnTo>
                  <a:cubicBezTo>
                    <a:pt x="1" y="0"/>
                    <a:pt x="285" y="10894"/>
                    <a:pt x="669" y="24345"/>
                  </a:cubicBezTo>
                  <a:cubicBezTo>
                    <a:pt x="1053" y="37778"/>
                    <a:pt x="1404" y="48672"/>
                    <a:pt x="1438" y="48672"/>
                  </a:cubicBezTo>
                  <a:cubicBezTo>
                    <a:pt x="1471" y="48672"/>
                    <a:pt x="1204" y="37762"/>
                    <a:pt x="819" y="24328"/>
                  </a:cubicBezTo>
                  <a:cubicBezTo>
                    <a:pt x="418" y="10894"/>
                    <a:pt x="84" y="0"/>
                    <a:pt x="3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7" name="Google Shape;2607;p53"/>
            <p:cNvSpPr/>
            <p:nvPr/>
          </p:nvSpPr>
          <p:spPr>
            <a:xfrm>
              <a:off x="5969305" y="3030400"/>
              <a:ext cx="8045" cy="1535868"/>
            </a:xfrm>
            <a:custGeom>
              <a:avLst/>
              <a:gdLst/>
              <a:ahLst/>
              <a:cxnLst/>
              <a:rect l="l" t="t" r="r" b="b"/>
              <a:pathLst>
                <a:path w="251" h="47921" extrusionOk="0">
                  <a:moveTo>
                    <a:pt x="50" y="1"/>
                  </a:moveTo>
                  <a:cubicBezTo>
                    <a:pt x="0" y="1"/>
                    <a:pt x="17" y="10727"/>
                    <a:pt x="50" y="23961"/>
                  </a:cubicBezTo>
                  <a:cubicBezTo>
                    <a:pt x="97" y="36444"/>
                    <a:pt x="160" y="46697"/>
                    <a:pt x="209" y="47819"/>
                  </a:cubicBezTo>
                  <a:lnTo>
                    <a:pt x="209" y="47819"/>
                  </a:lnTo>
                  <a:cubicBezTo>
                    <a:pt x="251" y="46697"/>
                    <a:pt x="248" y="36444"/>
                    <a:pt x="201" y="23961"/>
                  </a:cubicBezTo>
                  <a:cubicBezTo>
                    <a:pt x="150" y="10727"/>
                    <a:pt x="84" y="1"/>
                    <a:pt x="50" y="1"/>
                  </a:cubicBezTo>
                  <a:close/>
                  <a:moveTo>
                    <a:pt x="209" y="47819"/>
                  </a:moveTo>
                  <a:lnTo>
                    <a:pt x="209" y="47819"/>
                  </a:lnTo>
                  <a:cubicBezTo>
                    <a:pt x="206" y="47886"/>
                    <a:pt x="203" y="47921"/>
                    <a:pt x="201" y="47921"/>
                  </a:cubicBezTo>
                  <a:lnTo>
                    <a:pt x="217" y="47921"/>
                  </a:lnTo>
                  <a:cubicBezTo>
                    <a:pt x="214" y="47921"/>
                    <a:pt x="212" y="47886"/>
                    <a:pt x="209" y="47819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8" name="Google Shape;2608;p53"/>
            <p:cNvSpPr/>
            <p:nvPr/>
          </p:nvSpPr>
          <p:spPr>
            <a:xfrm>
              <a:off x="6025521" y="3009503"/>
              <a:ext cx="28941" cy="1556765"/>
            </a:xfrm>
            <a:custGeom>
              <a:avLst/>
              <a:gdLst/>
              <a:ahLst/>
              <a:cxnLst/>
              <a:rect l="l" t="t" r="r" b="b"/>
              <a:pathLst>
                <a:path w="903" h="48573" extrusionOk="0">
                  <a:moveTo>
                    <a:pt x="869" y="1"/>
                  </a:moveTo>
                  <a:cubicBezTo>
                    <a:pt x="819" y="1"/>
                    <a:pt x="602" y="10878"/>
                    <a:pt x="385" y="24295"/>
                  </a:cubicBezTo>
                  <a:cubicBezTo>
                    <a:pt x="151" y="37695"/>
                    <a:pt x="0" y="48573"/>
                    <a:pt x="51" y="48573"/>
                  </a:cubicBezTo>
                  <a:cubicBezTo>
                    <a:pt x="84" y="48573"/>
                    <a:pt x="301" y="37695"/>
                    <a:pt x="518" y="24295"/>
                  </a:cubicBezTo>
                  <a:cubicBezTo>
                    <a:pt x="752" y="10878"/>
                    <a:pt x="903" y="1"/>
                    <a:pt x="869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9" name="Google Shape;2609;p53"/>
            <p:cNvSpPr/>
            <p:nvPr/>
          </p:nvSpPr>
          <p:spPr>
            <a:xfrm>
              <a:off x="6114428" y="3002548"/>
              <a:ext cx="10192" cy="168711"/>
            </a:xfrm>
            <a:custGeom>
              <a:avLst/>
              <a:gdLst/>
              <a:ahLst/>
              <a:cxnLst/>
              <a:rect l="l" t="t" r="r" b="b"/>
              <a:pathLst>
                <a:path w="318" h="5264" extrusionOk="0">
                  <a:moveTo>
                    <a:pt x="33" y="1"/>
                  </a:moveTo>
                  <a:cubicBezTo>
                    <a:pt x="0" y="1"/>
                    <a:pt x="17" y="1187"/>
                    <a:pt x="84" y="2624"/>
                  </a:cubicBezTo>
                  <a:cubicBezTo>
                    <a:pt x="150" y="4078"/>
                    <a:pt x="251" y="5264"/>
                    <a:pt x="284" y="5264"/>
                  </a:cubicBezTo>
                  <a:cubicBezTo>
                    <a:pt x="318" y="5264"/>
                    <a:pt x="301" y="4078"/>
                    <a:pt x="234" y="2624"/>
                  </a:cubicBezTo>
                  <a:cubicBezTo>
                    <a:pt x="167" y="1170"/>
                    <a:pt x="84" y="1"/>
                    <a:pt x="3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0" name="Google Shape;2610;p53"/>
            <p:cNvSpPr/>
            <p:nvPr/>
          </p:nvSpPr>
          <p:spPr>
            <a:xfrm>
              <a:off x="6172791" y="3002548"/>
              <a:ext cx="386138" cy="1600128"/>
            </a:xfrm>
            <a:custGeom>
              <a:avLst/>
              <a:gdLst/>
              <a:ahLst/>
              <a:cxnLst/>
              <a:rect l="l" t="t" r="r" b="b"/>
              <a:pathLst>
                <a:path w="12048" h="49926" extrusionOk="0">
                  <a:moveTo>
                    <a:pt x="34" y="1"/>
                  </a:moveTo>
                  <a:cubicBezTo>
                    <a:pt x="34" y="1"/>
                    <a:pt x="34" y="1"/>
                    <a:pt x="34" y="1"/>
                  </a:cubicBezTo>
                  <a:cubicBezTo>
                    <a:pt x="0" y="1"/>
                    <a:pt x="2640" y="11195"/>
                    <a:pt x="5949" y="24980"/>
                  </a:cubicBezTo>
                  <a:cubicBezTo>
                    <a:pt x="9254" y="38754"/>
                    <a:pt x="11976" y="49926"/>
                    <a:pt x="12014" y="49926"/>
                  </a:cubicBezTo>
                  <a:cubicBezTo>
                    <a:pt x="12014" y="49926"/>
                    <a:pt x="12014" y="49926"/>
                    <a:pt x="12014" y="49926"/>
                  </a:cubicBezTo>
                  <a:cubicBezTo>
                    <a:pt x="12047" y="49909"/>
                    <a:pt x="9407" y="38731"/>
                    <a:pt x="6099" y="24947"/>
                  </a:cubicBezTo>
                  <a:cubicBezTo>
                    <a:pt x="2793" y="11172"/>
                    <a:pt x="71" y="1"/>
                    <a:pt x="34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1" name="Google Shape;2611;p53"/>
            <p:cNvSpPr/>
            <p:nvPr/>
          </p:nvSpPr>
          <p:spPr>
            <a:xfrm>
              <a:off x="6245063" y="2987036"/>
              <a:ext cx="366331" cy="1614583"/>
            </a:xfrm>
            <a:custGeom>
              <a:avLst/>
              <a:gdLst/>
              <a:ahLst/>
              <a:cxnLst/>
              <a:rect l="l" t="t" r="r" b="b"/>
              <a:pathLst>
                <a:path w="11430" h="50377" extrusionOk="0">
                  <a:moveTo>
                    <a:pt x="34" y="0"/>
                  </a:moveTo>
                  <a:cubicBezTo>
                    <a:pt x="1" y="17"/>
                    <a:pt x="2507" y="11295"/>
                    <a:pt x="5648" y="25197"/>
                  </a:cubicBezTo>
                  <a:cubicBezTo>
                    <a:pt x="8773" y="39115"/>
                    <a:pt x="11346" y="50376"/>
                    <a:pt x="11396" y="50376"/>
                  </a:cubicBezTo>
                  <a:lnTo>
                    <a:pt x="11396" y="50360"/>
                  </a:lnTo>
                  <a:cubicBezTo>
                    <a:pt x="11430" y="50360"/>
                    <a:pt x="8923" y="39081"/>
                    <a:pt x="5782" y="25163"/>
                  </a:cubicBezTo>
                  <a:cubicBezTo>
                    <a:pt x="2641" y="11262"/>
                    <a:pt x="85" y="0"/>
                    <a:pt x="3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2" name="Google Shape;2612;p53"/>
            <p:cNvSpPr/>
            <p:nvPr/>
          </p:nvSpPr>
          <p:spPr>
            <a:xfrm>
              <a:off x="6326470" y="2987036"/>
              <a:ext cx="318128" cy="1605481"/>
            </a:xfrm>
            <a:custGeom>
              <a:avLst/>
              <a:gdLst/>
              <a:ahLst/>
              <a:cxnLst/>
              <a:rect l="l" t="t" r="r" b="b"/>
              <a:pathLst>
                <a:path w="9926" h="50093" extrusionOk="0">
                  <a:moveTo>
                    <a:pt x="34" y="0"/>
                  </a:moveTo>
                  <a:lnTo>
                    <a:pt x="34" y="0"/>
                  </a:lnTo>
                  <a:cubicBezTo>
                    <a:pt x="1" y="17"/>
                    <a:pt x="2173" y="11228"/>
                    <a:pt x="4896" y="25063"/>
                  </a:cubicBezTo>
                  <a:cubicBezTo>
                    <a:pt x="7620" y="38898"/>
                    <a:pt x="9842" y="50092"/>
                    <a:pt x="9892" y="50092"/>
                  </a:cubicBezTo>
                  <a:cubicBezTo>
                    <a:pt x="9926" y="50076"/>
                    <a:pt x="7753" y="38864"/>
                    <a:pt x="5030" y="25030"/>
                  </a:cubicBezTo>
                  <a:cubicBezTo>
                    <a:pt x="2306" y="11195"/>
                    <a:pt x="84" y="0"/>
                    <a:pt x="3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3" name="Google Shape;2613;p53"/>
            <p:cNvSpPr/>
            <p:nvPr/>
          </p:nvSpPr>
          <p:spPr>
            <a:xfrm>
              <a:off x="5507689" y="1493730"/>
              <a:ext cx="437547" cy="918200"/>
            </a:xfrm>
            <a:custGeom>
              <a:avLst/>
              <a:gdLst/>
              <a:ahLst/>
              <a:cxnLst/>
              <a:rect l="l" t="t" r="r" b="b"/>
              <a:pathLst>
                <a:path w="13652" h="28649" extrusionOk="0">
                  <a:moveTo>
                    <a:pt x="5278" y="0"/>
                  </a:moveTo>
                  <a:cubicBezTo>
                    <a:pt x="4788" y="0"/>
                    <a:pt x="4226" y="2408"/>
                    <a:pt x="4177" y="2650"/>
                  </a:cubicBezTo>
                  <a:cubicBezTo>
                    <a:pt x="4158" y="2716"/>
                    <a:pt x="4104" y="2745"/>
                    <a:pt x="4049" y="2745"/>
                  </a:cubicBezTo>
                  <a:cubicBezTo>
                    <a:pt x="3965" y="2745"/>
                    <a:pt x="3880" y="2677"/>
                    <a:pt x="3910" y="2566"/>
                  </a:cubicBezTo>
                  <a:cubicBezTo>
                    <a:pt x="3960" y="2366"/>
                    <a:pt x="4712" y="210"/>
                    <a:pt x="4194" y="10"/>
                  </a:cubicBezTo>
                  <a:cubicBezTo>
                    <a:pt x="4183" y="6"/>
                    <a:pt x="4172" y="4"/>
                    <a:pt x="4162" y="4"/>
                  </a:cubicBezTo>
                  <a:cubicBezTo>
                    <a:pt x="3802" y="4"/>
                    <a:pt x="3665" y="2142"/>
                    <a:pt x="3275" y="2499"/>
                  </a:cubicBezTo>
                  <a:cubicBezTo>
                    <a:pt x="3243" y="2529"/>
                    <a:pt x="3217" y="2543"/>
                    <a:pt x="3197" y="2543"/>
                  </a:cubicBezTo>
                  <a:cubicBezTo>
                    <a:pt x="2976" y="2543"/>
                    <a:pt x="3511" y="784"/>
                    <a:pt x="3158" y="661"/>
                  </a:cubicBezTo>
                  <a:cubicBezTo>
                    <a:pt x="3138" y="656"/>
                    <a:pt x="3118" y="652"/>
                    <a:pt x="3098" y="652"/>
                  </a:cubicBezTo>
                  <a:cubicBezTo>
                    <a:pt x="2987" y="652"/>
                    <a:pt x="2875" y="799"/>
                    <a:pt x="2690" y="1848"/>
                  </a:cubicBezTo>
                  <a:cubicBezTo>
                    <a:pt x="2507" y="2717"/>
                    <a:pt x="2373" y="3585"/>
                    <a:pt x="2289" y="4454"/>
                  </a:cubicBezTo>
                  <a:lnTo>
                    <a:pt x="2273" y="4454"/>
                  </a:lnTo>
                  <a:lnTo>
                    <a:pt x="0" y="17855"/>
                  </a:lnTo>
                  <a:lnTo>
                    <a:pt x="8622" y="28648"/>
                  </a:lnTo>
                  <a:lnTo>
                    <a:pt x="13651" y="25173"/>
                  </a:lnTo>
                  <a:lnTo>
                    <a:pt x="4946" y="16852"/>
                  </a:lnTo>
                  <a:lnTo>
                    <a:pt x="5715" y="5657"/>
                  </a:lnTo>
                  <a:lnTo>
                    <a:pt x="5898" y="5440"/>
                  </a:lnTo>
                  <a:cubicBezTo>
                    <a:pt x="5999" y="5306"/>
                    <a:pt x="6116" y="5173"/>
                    <a:pt x="6249" y="5022"/>
                  </a:cubicBezTo>
                  <a:cubicBezTo>
                    <a:pt x="6416" y="4855"/>
                    <a:pt x="6600" y="4705"/>
                    <a:pt x="6801" y="4588"/>
                  </a:cubicBezTo>
                  <a:cubicBezTo>
                    <a:pt x="7051" y="4438"/>
                    <a:pt x="7319" y="4321"/>
                    <a:pt x="7603" y="4254"/>
                  </a:cubicBezTo>
                  <a:cubicBezTo>
                    <a:pt x="7870" y="4204"/>
                    <a:pt x="7954" y="3869"/>
                    <a:pt x="7736" y="3753"/>
                  </a:cubicBezTo>
                  <a:cubicBezTo>
                    <a:pt x="7687" y="3730"/>
                    <a:pt x="7611" y="3717"/>
                    <a:pt x="7515" y="3717"/>
                  </a:cubicBezTo>
                  <a:cubicBezTo>
                    <a:pt x="7187" y="3717"/>
                    <a:pt x="6621" y="3862"/>
                    <a:pt x="6065" y="4237"/>
                  </a:cubicBezTo>
                  <a:cubicBezTo>
                    <a:pt x="5957" y="4312"/>
                    <a:pt x="5875" y="4344"/>
                    <a:pt x="5815" y="4344"/>
                  </a:cubicBezTo>
                  <a:cubicBezTo>
                    <a:pt x="5481" y="4344"/>
                    <a:pt x="5785" y="3363"/>
                    <a:pt x="5898" y="2967"/>
                  </a:cubicBezTo>
                  <a:cubicBezTo>
                    <a:pt x="6049" y="2499"/>
                    <a:pt x="6416" y="1029"/>
                    <a:pt x="6299" y="879"/>
                  </a:cubicBezTo>
                  <a:cubicBezTo>
                    <a:pt x="6247" y="811"/>
                    <a:pt x="6185" y="777"/>
                    <a:pt x="6121" y="777"/>
                  </a:cubicBezTo>
                  <a:cubicBezTo>
                    <a:pt x="5979" y="777"/>
                    <a:pt x="5823" y="941"/>
                    <a:pt x="5731" y="1263"/>
                  </a:cubicBezTo>
                  <a:cubicBezTo>
                    <a:pt x="5601" y="1736"/>
                    <a:pt x="5136" y="3053"/>
                    <a:pt x="4881" y="3053"/>
                  </a:cubicBezTo>
                  <a:cubicBezTo>
                    <a:pt x="4874" y="3053"/>
                    <a:pt x="4868" y="3052"/>
                    <a:pt x="4862" y="3051"/>
                  </a:cubicBezTo>
                  <a:cubicBezTo>
                    <a:pt x="4629" y="2967"/>
                    <a:pt x="5364" y="595"/>
                    <a:pt x="5364" y="595"/>
                  </a:cubicBezTo>
                  <a:cubicBezTo>
                    <a:pt x="5364" y="595"/>
                    <a:pt x="5614" y="110"/>
                    <a:pt x="5330" y="10"/>
                  </a:cubicBezTo>
                  <a:cubicBezTo>
                    <a:pt x="5313" y="3"/>
                    <a:pt x="5296" y="0"/>
                    <a:pt x="5278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4" name="Google Shape;2614;p53"/>
            <p:cNvSpPr/>
            <p:nvPr/>
          </p:nvSpPr>
          <p:spPr>
            <a:xfrm>
              <a:off x="5875591" y="4569441"/>
              <a:ext cx="177269" cy="87336"/>
            </a:xfrm>
            <a:custGeom>
              <a:avLst/>
              <a:gdLst/>
              <a:ahLst/>
              <a:cxnLst/>
              <a:rect l="l" t="t" r="r" b="b"/>
              <a:pathLst>
                <a:path w="5531" h="2725" extrusionOk="0">
                  <a:moveTo>
                    <a:pt x="5531" y="1"/>
                  </a:moveTo>
                  <a:lnTo>
                    <a:pt x="752" y="235"/>
                  </a:lnTo>
                  <a:lnTo>
                    <a:pt x="0" y="2724"/>
                  </a:lnTo>
                  <a:lnTo>
                    <a:pt x="5297" y="2657"/>
                  </a:lnTo>
                  <a:lnTo>
                    <a:pt x="553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5" name="Google Shape;2615;p53"/>
            <p:cNvSpPr/>
            <p:nvPr/>
          </p:nvSpPr>
          <p:spPr>
            <a:xfrm>
              <a:off x="5879854" y="4634021"/>
              <a:ext cx="169256" cy="6538"/>
            </a:xfrm>
            <a:custGeom>
              <a:avLst/>
              <a:gdLst/>
              <a:ahLst/>
              <a:cxnLst/>
              <a:rect l="l" t="t" r="r" b="b"/>
              <a:pathLst>
                <a:path w="5281" h="204" extrusionOk="0">
                  <a:moveTo>
                    <a:pt x="1236" y="1"/>
                  </a:moveTo>
                  <a:cubicBezTo>
                    <a:pt x="1067" y="1"/>
                    <a:pt x="911" y="3"/>
                    <a:pt x="769" y="8"/>
                  </a:cubicBezTo>
                  <a:cubicBezTo>
                    <a:pt x="725" y="5"/>
                    <a:pt x="680" y="3"/>
                    <a:pt x="635" y="3"/>
                  </a:cubicBezTo>
                  <a:cubicBezTo>
                    <a:pt x="424" y="3"/>
                    <a:pt x="207" y="33"/>
                    <a:pt x="1" y="74"/>
                  </a:cubicBezTo>
                  <a:cubicBezTo>
                    <a:pt x="205" y="102"/>
                    <a:pt x="421" y="129"/>
                    <a:pt x="630" y="129"/>
                  </a:cubicBezTo>
                  <a:cubicBezTo>
                    <a:pt x="677" y="129"/>
                    <a:pt x="723" y="128"/>
                    <a:pt x="769" y="125"/>
                  </a:cubicBezTo>
                  <a:lnTo>
                    <a:pt x="2641" y="191"/>
                  </a:lnTo>
                  <a:cubicBezTo>
                    <a:pt x="3000" y="200"/>
                    <a:pt x="3347" y="204"/>
                    <a:pt x="3662" y="204"/>
                  </a:cubicBezTo>
                  <a:cubicBezTo>
                    <a:pt x="3977" y="204"/>
                    <a:pt x="4261" y="200"/>
                    <a:pt x="4495" y="191"/>
                  </a:cubicBezTo>
                  <a:cubicBezTo>
                    <a:pt x="4562" y="196"/>
                    <a:pt x="4628" y="198"/>
                    <a:pt x="4693" y="198"/>
                  </a:cubicBezTo>
                  <a:cubicBezTo>
                    <a:pt x="4889" y="198"/>
                    <a:pt x="5080" y="179"/>
                    <a:pt x="5281" y="141"/>
                  </a:cubicBezTo>
                  <a:cubicBezTo>
                    <a:pt x="5013" y="91"/>
                    <a:pt x="4763" y="74"/>
                    <a:pt x="4495" y="74"/>
                  </a:cubicBezTo>
                  <a:lnTo>
                    <a:pt x="2641" y="24"/>
                  </a:lnTo>
                  <a:cubicBezTo>
                    <a:pt x="2121" y="12"/>
                    <a:pt x="1643" y="1"/>
                    <a:pt x="1236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6" name="Google Shape;2616;p53"/>
            <p:cNvSpPr/>
            <p:nvPr/>
          </p:nvSpPr>
          <p:spPr>
            <a:xfrm>
              <a:off x="5970363" y="4566236"/>
              <a:ext cx="7532" cy="71247"/>
            </a:xfrm>
            <a:custGeom>
              <a:avLst/>
              <a:gdLst/>
              <a:ahLst/>
              <a:cxnLst/>
              <a:rect l="l" t="t" r="r" b="b"/>
              <a:pathLst>
                <a:path w="235" h="2223" extrusionOk="0">
                  <a:moveTo>
                    <a:pt x="184" y="1"/>
                  </a:moveTo>
                  <a:cubicBezTo>
                    <a:pt x="134" y="1"/>
                    <a:pt x="67" y="502"/>
                    <a:pt x="34" y="1103"/>
                  </a:cubicBezTo>
                  <a:cubicBezTo>
                    <a:pt x="0" y="1722"/>
                    <a:pt x="0" y="2223"/>
                    <a:pt x="51" y="2223"/>
                  </a:cubicBezTo>
                  <a:cubicBezTo>
                    <a:pt x="101" y="2223"/>
                    <a:pt x="168" y="1738"/>
                    <a:pt x="201" y="1120"/>
                  </a:cubicBezTo>
                  <a:cubicBezTo>
                    <a:pt x="234" y="502"/>
                    <a:pt x="218" y="1"/>
                    <a:pt x="18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7" name="Google Shape;2617;p53"/>
            <p:cNvSpPr/>
            <p:nvPr/>
          </p:nvSpPr>
          <p:spPr>
            <a:xfrm>
              <a:off x="5875591" y="4636393"/>
              <a:ext cx="171371" cy="20384"/>
            </a:xfrm>
            <a:custGeom>
              <a:avLst/>
              <a:gdLst/>
              <a:ahLst/>
              <a:cxnLst/>
              <a:rect l="l" t="t" r="r" b="b"/>
              <a:pathLst>
                <a:path w="5347" h="636" extrusionOk="0">
                  <a:moveTo>
                    <a:pt x="84" y="0"/>
                  </a:moveTo>
                  <a:lnTo>
                    <a:pt x="0" y="568"/>
                  </a:lnTo>
                  <a:lnTo>
                    <a:pt x="0" y="635"/>
                  </a:lnTo>
                  <a:lnTo>
                    <a:pt x="5297" y="568"/>
                  </a:lnTo>
                  <a:lnTo>
                    <a:pt x="5347" y="67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8" name="Google Shape;2618;p53"/>
            <p:cNvSpPr/>
            <p:nvPr/>
          </p:nvSpPr>
          <p:spPr>
            <a:xfrm>
              <a:off x="5915750" y="1487641"/>
              <a:ext cx="394151" cy="934995"/>
            </a:xfrm>
            <a:custGeom>
              <a:avLst/>
              <a:gdLst/>
              <a:ahLst/>
              <a:cxnLst/>
              <a:rect l="l" t="t" r="r" b="b"/>
              <a:pathLst>
                <a:path w="12298" h="29173" extrusionOk="0">
                  <a:moveTo>
                    <a:pt x="2925" y="1"/>
                  </a:moveTo>
                  <a:cubicBezTo>
                    <a:pt x="2908" y="1"/>
                    <a:pt x="2891" y="6"/>
                    <a:pt x="2874" y="16"/>
                  </a:cubicBezTo>
                  <a:cubicBezTo>
                    <a:pt x="2406" y="317"/>
                    <a:pt x="3593" y="2272"/>
                    <a:pt x="3676" y="2455"/>
                  </a:cubicBezTo>
                  <a:cubicBezTo>
                    <a:pt x="3733" y="2568"/>
                    <a:pt x="3644" y="2658"/>
                    <a:pt x="3555" y="2658"/>
                  </a:cubicBezTo>
                  <a:cubicBezTo>
                    <a:pt x="3512" y="2658"/>
                    <a:pt x="3469" y="2638"/>
                    <a:pt x="3442" y="2589"/>
                  </a:cubicBezTo>
                  <a:cubicBezTo>
                    <a:pt x="3347" y="2368"/>
                    <a:pt x="2344" y="210"/>
                    <a:pt x="1852" y="210"/>
                  </a:cubicBezTo>
                  <a:cubicBezTo>
                    <a:pt x="1824" y="210"/>
                    <a:pt x="1796" y="217"/>
                    <a:pt x="1771" y="233"/>
                  </a:cubicBezTo>
                  <a:cubicBezTo>
                    <a:pt x="1504" y="400"/>
                    <a:pt x="1855" y="818"/>
                    <a:pt x="1855" y="818"/>
                  </a:cubicBezTo>
                  <a:cubicBezTo>
                    <a:pt x="1855" y="818"/>
                    <a:pt x="3075" y="2990"/>
                    <a:pt x="2841" y="3124"/>
                  </a:cubicBezTo>
                  <a:cubicBezTo>
                    <a:pt x="2831" y="3129"/>
                    <a:pt x="2820" y="3131"/>
                    <a:pt x="2809" y="3131"/>
                  </a:cubicBezTo>
                  <a:cubicBezTo>
                    <a:pt x="2558" y="3131"/>
                    <a:pt x="1861" y="1968"/>
                    <a:pt x="1638" y="1553"/>
                  </a:cubicBezTo>
                  <a:cubicBezTo>
                    <a:pt x="1504" y="1285"/>
                    <a:pt x="1338" y="1157"/>
                    <a:pt x="1203" y="1157"/>
                  </a:cubicBezTo>
                  <a:cubicBezTo>
                    <a:pt x="1119" y="1157"/>
                    <a:pt x="1048" y="1207"/>
                    <a:pt x="1003" y="1303"/>
                  </a:cubicBezTo>
                  <a:cubicBezTo>
                    <a:pt x="919" y="1470"/>
                    <a:pt x="1588" y="2840"/>
                    <a:pt x="1821" y="3257"/>
                  </a:cubicBezTo>
                  <a:cubicBezTo>
                    <a:pt x="2027" y="3639"/>
                    <a:pt x="2554" y="4587"/>
                    <a:pt x="2149" y="4587"/>
                  </a:cubicBezTo>
                  <a:cubicBezTo>
                    <a:pt x="2092" y="4587"/>
                    <a:pt x="2018" y="4568"/>
                    <a:pt x="1922" y="4527"/>
                  </a:cubicBezTo>
                  <a:cubicBezTo>
                    <a:pt x="1491" y="4357"/>
                    <a:pt x="1080" y="4292"/>
                    <a:pt x="761" y="4292"/>
                  </a:cubicBezTo>
                  <a:cubicBezTo>
                    <a:pt x="485" y="4292"/>
                    <a:pt x="277" y="4341"/>
                    <a:pt x="184" y="4410"/>
                  </a:cubicBezTo>
                  <a:cubicBezTo>
                    <a:pt x="0" y="4561"/>
                    <a:pt x="151" y="4861"/>
                    <a:pt x="418" y="4861"/>
                  </a:cubicBezTo>
                  <a:cubicBezTo>
                    <a:pt x="702" y="4878"/>
                    <a:pt x="986" y="4928"/>
                    <a:pt x="1270" y="5029"/>
                  </a:cubicBezTo>
                  <a:cubicBezTo>
                    <a:pt x="1487" y="5095"/>
                    <a:pt x="1704" y="5196"/>
                    <a:pt x="1888" y="5329"/>
                  </a:cubicBezTo>
                  <a:cubicBezTo>
                    <a:pt x="2055" y="5463"/>
                    <a:pt x="2206" y="5563"/>
                    <a:pt x="2323" y="5663"/>
                  </a:cubicBezTo>
                  <a:lnTo>
                    <a:pt x="2557" y="5847"/>
                  </a:lnTo>
                  <a:lnTo>
                    <a:pt x="7118" y="17109"/>
                  </a:lnTo>
                  <a:lnTo>
                    <a:pt x="2974" y="26783"/>
                  </a:lnTo>
                  <a:lnTo>
                    <a:pt x="9407" y="29172"/>
                  </a:lnTo>
                  <a:lnTo>
                    <a:pt x="12298" y="16390"/>
                  </a:lnTo>
                  <a:lnTo>
                    <a:pt x="5664" y="3959"/>
                  </a:lnTo>
                  <a:cubicBezTo>
                    <a:pt x="5397" y="3124"/>
                    <a:pt x="5080" y="2305"/>
                    <a:pt x="4729" y="1503"/>
                  </a:cubicBezTo>
                  <a:cubicBezTo>
                    <a:pt x="4360" y="582"/>
                    <a:pt x="4209" y="407"/>
                    <a:pt x="4105" y="407"/>
                  </a:cubicBezTo>
                  <a:cubicBezTo>
                    <a:pt x="4077" y="407"/>
                    <a:pt x="4052" y="420"/>
                    <a:pt x="4027" y="434"/>
                  </a:cubicBezTo>
                  <a:cubicBezTo>
                    <a:pt x="3700" y="620"/>
                    <a:pt x="4619" y="2284"/>
                    <a:pt x="4370" y="2284"/>
                  </a:cubicBezTo>
                  <a:cubicBezTo>
                    <a:pt x="4352" y="2284"/>
                    <a:pt x="4327" y="2275"/>
                    <a:pt x="4294" y="2255"/>
                  </a:cubicBezTo>
                  <a:cubicBezTo>
                    <a:pt x="3849" y="2000"/>
                    <a:pt x="3281" y="1"/>
                    <a:pt x="2925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9" name="Google Shape;2619;p53"/>
            <p:cNvSpPr/>
            <p:nvPr/>
          </p:nvSpPr>
          <p:spPr>
            <a:xfrm>
              <a:off x="6515501" y="4601587"/>
              <a:ext cx="325628" cy="63331"/>
            </a:xfrm>
            <a:custGeom>
              <a:avLst/>
              <a:gdLst/>
              <a:ahLst/>
              <a:cxnLst/>
              <a:rect l="l" t="t" r="r" b="b"/>
              <a:pathLst>
                <a:path w="10160" h="1976" extrusionOk="0">
                  <a:moveTo>
                    <a:pt x="5481" y="0"/>
                  </a:moveTo>
                  <a:lnTo>
                    <a:pt x="1" y="151"/>
                  </a:lnTo>
                  <a:lnTo>
                    <a:pt x="51" y="1939"/>
                  </a:lnTo>
                  <a:lnTo>
                    <a:pt x="385" y="1939"/>
                  </a:lnTo>
                  <a:cubicBezTo>
                    <a:pt x="940" y="1957"/>
                    <a:pt x="2131" y="1976"/>
                    <a:pt x="3463" y="1976"/>
                  </a:cubicBezTo>
                  <a:cubicBezTo>
                    <a:pt x="5738" y="1976"/>
                    <a:pt x="8425" y="1922"/>
                    <a:pt x="9057" y="1721"/>
                  </a:cubicBezTo>
                  <a:cubicBezTo>
                    <a:pt x="10160" y="1387"/>
                    <a:pt x="5498" y="535"/>
                    <a:pt x="5498" y="535"/>
                  </a:cubicBezTo>
                  <a:lnTo>
                    <a:pt x="548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0" name="Google Shape;2620;p53"/>
            <p:cNvSpPr/>
            <p:nvPr/>
          </p:nvSpPr>
          <p:spPr>
            <a:xfrm>
              <a:off x="6516046" y="4615689"/>
              <a:ext cx="64292" cy="45351"/>
            </a:xfrm>
            <a:custGeom>
              <a:avLst/>
              <a:gdLst/>
              <a:ahLst/>
              <a:cxnLst/>
              <a:rect l="l" t="t" r="r" b="b"/>
              <a:pathLst>
                <a:path w="2006" h="1415" extrusionOk="0">
                  <a:moveTo>
                    <a:pt x="205" y="0"/>
                  </a:moveTo>
                  <a:cubicBezTo>
                    <a:pt x="137" y="0"/>
                    <a:pt x="69" y="4"/>
                    <a:pt x="0" y="11"/>
                  </a:cubicBezTo>
                  <a:lnTo>
                    <a:pt x="34" y="1415"/>
                  </a:lnTo>
                  <a:lnTo>
                    <a:pt x="2006" y="1398"/>
                  </a:lnTo>
                  <a:cubicBezTo>
                    <a:pt x="1905" y="964"/>
                    <a:pt x="1655" y="580"/>
                    <a:pt x="1287" y="346"/>
                  </a:cubicBezTo>
                  <a:cubicBezTo>
                    <a:pt x="961" y="119"/>
                    <a:pt x="586" y="0"/>
                    <a:pt x="20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1" name="Google Shape;2621;p53"/>
            <p:cNvSpPr/>
            <p:nvPr/>
          </p:nvSpPr>
          <p:spPr>
            <a:xfrm>
              <a:off x="6517104" y="4634246"/>
              <a:ext cx="300469" cy="31313"/>
            </a:xfrm>
            <a:custGeom>
              <a:avLst/>
              <a:gdLst/>
              <a:ahLst/>
              <a:cxnLst/>
              <a:rect l="l" t="t" r="r" b="b"/>
              <a:pathLst>
                <a:path w="9375" h="977" extrusionOk="0">
                  <a:moveTo>
                    <a:pt x="7737" y="1"/>
                  </a:moveTo>
                  <a:cubicBezTo>
                    <a:pt x="7420" y="17"/>
                    <a:pt x="7269" y="669"/>
                    <a:pt x="7269" y="669"/>
                  </a:cubicBezTo>
                  <a:lnTo>
                    <a:pt x="1" y="803"/>
                  </a:lnTo>
                  <a:lnTo>
                    <a:pt x="1" y="920"/>
                  </a:lnTo>
                  <a:cubicBezTo>
                    <a:pt x="724" y="959"/>
                    <a:pt x="1684" y="977"/>
                    <a:pt x="2712" y="977"/>
                  </a:cubicBezTo>
                  <a:cubicBezTo>
                    <a:pt x="5603" y="977"/>
                    <a:pt x="9026" y="837"/>
                    <a:pt x="9174" y="652"/>
                  </a:cubicBezTo>
                  <a:cubicBezTo>
                    <a:pt x="9374" y="402"/>
                    <a:pt x="7737" y="1"/>
                    <a:pt x="773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2" name="Google Shape;2622;p53"/>
            <p:cNvSpPr/>
            <p:nvPr/>
          </p:nvSpPr>
          <p:spPr>
            <a:xfrm>
              <a:off x="6517649" y="4652450"/>
              <a:ext cx="290277" cy="8589"/>
            </a:xfrm>
            <a:custGeom>
              <a:avLst/>
              <a:gdLst/>
              <a:ahLst/>
              <a:cxnLst/>
              <a:rect l="l" t="t" r="r" b="b"/>
              <a:pathLst>
                <a:path w="9057" h="268" extrusionOk="0">
                  <a:moveTo>
                    <a:pt x="8789" y="1"/>
                  </a:moveTo>
                  <a:lnTo>
                    <a:pt x="7804" y="51"/>
                  </a:lnTo>
                  <a:cubicBezTo>
                    <a:pt x="6968" y="84"/>
                    <a:pt x="5815" y="134"/>
                    <a:pt x="4529" y="168"/>
                  </a:cubicBezTo>
                  <a:cubicBezTo>
                    <a:pt x="3259" y="201"/>
                    <a:pt x="2106" y="218"/>
                    <a:pt x="1254" y="218"/>
                  </a:cubicBezTo>
                  <a:lnTo>
                    <a:pt x="268" y="218"/>
                  </a:lnTo>
                  <a:lnTo>
                    <a:pt x="1" y="235"/>
                  </a:lnTo>
                  <a:lnTo>
                    <a:pt x="268" y="251"/>
                  </a:lnTo>
                  <a:lnTo>
                    <a:pt x="1254" y="268"/>
                  </a:lnTo>
                  <a:cubicBezTo>
                    <a:pt x="2106" y="268"/>
                    <a:pt x="3259" y="268"/>
                    <a:pt x="4529" y="235"/>
                  </a:cubicBezTo>
                  <a:cubicBezTo>
                    <a:pt x="5815" y="201"/>
                    <a:pt x="6968" y="134"/>
                    <a:pt x="7804" y="101"/>
                  </a:cubicBezTo>
                  <a:cubicBezTo>
                    <a:pt x="8188" y="67"/>
                    <a:pt x="8522" y="51"/>
                    <a:pt x="8789" y="34"/>
                  </a:cubicBezTo>
                  <a:lnTo>
                    <a:pt x="9057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3" name="Google Shape;2623;p53"/>
            <p:cNvSpPr/>
            <p:nvPr/>
          </p:nvSpPr>
          <p:spPr>
            <a:xfrm>
              <a:off x="6748985" y="4632098"/>
              <a:ext cx="17179" cy="26281"/>
            </a:xfrm>
            <a:custGeom>
              <a:avLst/>
              <a:gdLst/>
              <a:ahLst/>
              <a:cxnLst/>
              <a:rect l="l" t="t" r="r" b="b"/>
              <a:pathLst>
                <a:path w="536" h="820" extrusionOk="0">
                  <a:moveTo>
                    <a:pt x="535" y="1"/>
                  </a:moveTo>
                  <a:lnTo>
                    <a:pt x="535" y="1"/>
                  </a:lnTo>
                  <a:cubicBezTo>
                    <a:pt x="368" y="68"/>
                    <a:pt x="235" y="185"/>
                    <a:pt x="151" y="335"/>
                  </a:cubicBezTo>
                  <a:cubicBezTo>
                    <a:pt x="51" y="469"/>
                    <a:pt x="1" y="652"/>
                    <a:pt x="34" y="819"/>
                  </a:cubicBezTo>
                  <a:cubicBezTo>
                    <a:pt x="68" y="652"/>
                    <a:pt x="134" y="502"/>
                    <a:pt x="201" y="368"/>
                  </a:cubicBezTo>
                  <a:cubicBezTo>
                    <a:pt x="301" y="235"/>
                    <a:pt x="402" y="118"/>
                    <a:pt x="53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4" name="Google Shape;2624;p53"/>
            <p:cNvSpPr/>
            <p:nvPr/>
          </p:nvSpPr>
          <p:spPr>
            <a:xfrm>
              <a:off x="6697032" y="4621394"/>
              <a:ext cx="10224" cy="13942"/>
            </a:xfrm>
            <a:custGeom>
              <a:avLst/>
              <a:gdLst/>
              <a:ahLst/>
              <a:cxnLst/>
              <a:rect l="l" t="t" r="r" b="b"/>
              <a:pathLst>
                <a:path w="319" h="435" extrusionOk="0">
                  <a:moveTo>
                    <a:pt x="302" y="1"/>
                  </a:moveTo>
                  <a:cubicBezTo>
                    <a:pt x="285" y="1"/>
                    <a:pt x="218" y="84"/>
                    <a:pt x="135" y="201"/>
                  </a:cubicBezTo>
                  <a:cubicBezTo>
                    <a:pt x="51" y="318"/>
                    <a:pt x="1" y="418"/>
                    <a:pt x="18" y="435"/>
                  </a:cubicBezTo>
                  <a:cubicBezTo>
                    <a:pt x="34" y="435"/>
                    <a:pt x="118" y="351"/>
                    <a:pt x="185" y="234"/>
                  </a:cubicBezTo>
                  <a:cubicBezTo>
                    <a:pt x="268" y="118"/>
                    <a:pt x="318" y="17"/>
                    <a:pt x="30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5" name="Google Shape;2625;p53"/>
            <p:cNvSpPr/>
            <p:nvPr/>
          </p:nvSpPr>
          <p:spPr>
            <a:xfrm>
              <a:off x="6683123" y="4619182"/>
              <a:ext cx="11282" cy="9743"/>
            </a:xfrm>
            <a:custGeom>
              <a:avLst/>
              <a:gdLst/>
              <a:ahLst/>
              <a:cxnLst/>
              <a:rect l="l" t="t" r="r" b="b"/>
              <a:pathLst>
                <a:path w="352" h="304" extrusionOk="0">
                  <a:moveTo>
                    <a:pt x="332" y="0"/>
                  </a:moveTo>
                  <a:cubicBezTo>
                    <a:pt x="317" y="0"/>
                    <a:pt x="241" y="60"/>
                    <a:pt x="151" y="120"/>
                  </a:cubicBezTo>
                  <a:cubicBezTo>
                    <a:pt x="67" y="203"/>
                    <a:pt x="1" y="287"/>
                    <a:pt x="17" y="303"/>
                  </a:cubicBezTo>
                  <a:cubicBezTo>
                    <a:pt x="17" y="303"/>
                    <a:pt x="101" y="253"/>
                    <a:pt x="201" y="170"/>
                  </a:cubicBezTo>
                  <a:cubicBezTo>
                    <a:pt x="285" y="86"/>
                    <a:pt x="351" y="19"/>
                    <a:pt x="335" y="3"/>
                  </a:cubicBezTo>
                  <a:cubicBezTo>
                    <a:pt x="335" y="1"/>
                    <a:pt x="334" y="0"/>
                    <a:pt x="33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6" name="Google Shape;2626;p53"/>
            <p:cNvSpPr/>
            <p:nvPr/>
          </p:nvSpPr>
          <p:spPr>
            <a:xfrm>
              <a:off x="6674021" y="4612548"/>
              <a:ext cx="18236" cy="1859"/>
            </a:xfrm>
            <a:custGeom>
              <a:avLst/>
              <a:gdLst/>
              <a:ahLst/>
              <a:cxnLst/>
              <a:rect l="l" t="t" r="r" b="b"/>
              <a:pathLst>
                <a:path w="569" h="58" extrusionOk="0">
                  <a:moveTo>
                    <a:pt x="285" y="1"/>
                  </a:moveTo>
                  <a:cubicBezTo>
                    <a:pt x="188" y="1"/>
                    <a:pt x="92" y="9"/>
                    <a:pt x="1" y="26"/>
                  </a:cubicBezTo>
                  <a:cubicBezTo>
                    <a:pt x="83" y="49"/>
                    <a:pt x="170" y="58"/>
                    <a:pt x="257" y="58"/>
                  </a:cubicBezTo>
                  <a:cubicBezTo>
                    <a:pt x="362" y="58"/>
                    <a:pt x="468" y="44"/>
                    <a:pt x="569" y="26"/>
                  </a:cubicBezTo>
                  <a:cubicBezTo>
                    <a:pt x="477" y="9"/>
                    <a:pt x="381" y="1"/>
                    <a:pt x="28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7" name="Google Shape;2627;p53"/>
            <p:cNvSpPr/>
            <p:nvPr/>
          </p:nvSpPr>
          <p:spPr>
            <a:xfrm>
              <a:off x="6670816" y="4602644"/>
              <a:ext cx="20384" cy="2917"/>
            </a:xfrm>
            <a:custGeom>
              <a:avLst/>
              <a:gdLst/>
              <a:ahLst/>
              <a:cxnLst/>
              <a:rect l="l" t="t" r="r" b="b"/>
              <a:pathLst>
                <a:path w="636" h="91" extrusionOk="0">
                  <a:moveTo>
                    <a:pt x="0" y="1"/>
                  </a:moveTo>
                  <a:cubicBezTo>
                    <a:pt x="84" y="68"/>
                    <a:pt x="201" y="84"/>
                    <a:pt x="318" y="84"/>
                  </a:cubicBezTo>
                  <a:cubicBezTo>
                    <a:pt x="343" y="88"/>
                    <a:pt x="369" y="91"/>
                    <a:pt x="396" y="91"/>
                  </a:cubicBezTo>
                  <a:cubicBezTo>
                    <a:pt x="475" y="91"/>
                    <a:pt x="560" y="72"/>
                    <a:pt x="635" y="34"/>
                  </a:cubicBezTo>
                  <a:cubicBezTo>
                    <a:pt x="535" y="17"/>
                    <a:pt x="418" y="17"/>
                    <a:pt x="318" y="17"/>
                  </a:cubicBezTo>
                  <a:cubicBezTo>
                    <a:pt x="217" y="1"/>
                    <a:pt x="101" y="1"/>
                    <a:pt x="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8" name="Google Shape;2628;p53"/>
            <p:cNvSpPr/>
            <p:nvPr/>
          </p:nvSpPr>
          <p:spPr>
            <a:xfrm>
              <a:off x="6703474" y="4605785"/>
              <a:ext cx="32691" cy="17788"/>
            </a:xfrm>
            <a:custGeom>
              <a:avLst/>
              <a:gdLst/>
              <a:ahLst/>
              <a:cxnLst/>
              <a:rect l="l" t="t" r="r" b="b"/>
              <a:pathLst>
                <a:path w="1020" h="555" extrusionOk="0">
                  <a:moveTo>
                    <a:pt x="676" y="56"/>
                  </a:moveTo>
                  <a:cubicBezTo>
                    <a:pt x="758" y="56"/>
                    <a:pt x="842" y="74"/>
                    <a:pt x="919" y="103"/>
                  </a:cubicBezTo>
                  <a:cubicBezTo>
                    <a:pt x="970" y="137"/>
                    <a:pt x="953" y="204"/>
                    <a:pt x="886" y="237"/>
                  </a:cubicBezTo>
                  <a:cubicBezTo>
                    <a:pt x="819" y="270"/>
                    <a:pt x="769" y="304"/>
                    <a:pt x="686" y="320"/>
                  </a:cubicBezTo>
                  <a:cubicBezTo>
                    <a:pt x="569" y="354"/>
                    <a:pt x="452" y="387"/>
                    <a:pt x="335" y="421"/>
                  </a:cubicBezTo>
                  <a:cubicBezTo>
                    <a:pt x="233" y="438"/>
                    <a:pt x="149" y="446"/>
                    <a:pt x="91" y="452"/>
                  </a:cubicBezTo>
                  <a:lnTo>
                    <a:pt x="91" y="452"/>
                  </a:lnTo>
                  <a:cubicBezTo>
                    <a:pt x="120" y="388"/>
                    <a:pt x="157" y="325"/>
                    <a:pt x="201" y="270"/>
                  </a:cubicBezTo>
                  <a:cubicBezTo>
                    <a:pt x="285" y="187"/>
                    <a:pt x="385" y="120"/>
                    <a:pt x="502" y="87"/>
                  </a:cubicBezTo>
                  <a:cubicBezTo>
                    <a:pt x="558" y="66"/>
                    <a:pt x="617" y="56"/>
                    <a:pt x="676" y="56"/>
                  </a:cubicBezTo>
                  <a:close/>
                  <a:moveTo>
                    <a:pt x="690" y="1"/>
                  </a:moveTo>
                  <a:cubicBezTo>
                    <a:pt x="489" y="1"/>
                    <a:pt x="296" y="91"/>
                    <a:pt x="168" y="254"/>
                  </a:cubicBezTo>
                  <a:cubicBezTo>
                    <a:pt x="120" y="317"/>
                    <a:pt x="73" y="380"/>
                    <a:pt x="54" y="456"/>
                  </a:cubicBezTo>
                  <a:lnTo>
                    <a:pt x="54" y="456"/>
                  </a:lnTo>
                  <a:cubicBezTo>
                    <a:pt x="19" y="461"/>
                    <a:pt x="0" y="465"/>
                    <a:pt x="0" y="471"/>
                  </a:cubicBezTo>
                  <a:cubicBezTo>
                    <a:pt x="17" y="473"/>
                    <a:pt x="34" y="475"/>
                    <a:pt x="51" y="477"/>
                  </a:cubicBezTo>
                  <a:lnTo>
                    <a:pt x="51" y="477"/>
                  </a:lnTo>
                  <a:cubicBezTo>
                    <a:pt x="51" y="524"/>
                    <a:pt x="51" y="554"/>
                    <a:pt x="51" y="554"/>
                  </a:cubicBezTo>
                  <a:cubicBezTo>
                    <a:pt x="59" y="529"/>
                    <a:pt x="68" y="504"/>
                    <a:pt x="79" y="479"/>
                  </a:cubicBezTo>
                  <a:lnTo>
                    <a:pt x="79" y="479"/>
                  </a:lnTo>
                  <a:cubicBezTo>
                    <a:pt x="101" y="481"/>
                    <a:pt x="124" y="482"/>
                    <a:pt x="146" y="482"/>
                  </a:cubicBezTo>
                  <a:cubicBezTo>
                    <a:pt x="214" y="482"/>
                    <a:pt x="283" y="474"/>
                    <a:pt x="351" y="454"/>
                  </a:cubicBezTo>
                  <a:cubicBezTo>
                    <a:pt x="468" y="437"/>
                    <a:pt x="602" y="421"/>
                    <a:pt x="719" y="371"/>
                  </a:cubicBezTo>
                  <a:cubicBezTo>
                    <a:pt x="786" y="354"/>
                    <a:pt x="853" y="320"/>
                    <a:pt x="919" y="287"/>
                  </a:cubicBezTo>
                  <a:cubicBezTo>
                    <a:pt x="970" y="270"/>
                    <a:pt x="1003" y="220"/>
                    <a:pt x="1003" y="187"/>
                  </a:cubicBezTo>
                  <a:cubicBezTo>
                    <a:pt x="1020" y="137"/>
                    <a:pt x="1003" y="87"/>
                    <a:pt x="953" y="53"/>
                  </a:cubicBezTo>
                  <a:cubicBezTo>
                    <a:pt x="867" y="18"/>
                    <a:pt x="778" y="1"/>
                    <a:pt x="69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9" name="Google Shape;2629;p53"/>
            <p:cNvSpPr/>
            <p:nvPr/>
          </p:nvSpPr>
          <p:spPr>
            <a:xfrm>
              <a:off x="6690622" y="4601587"/>
              <a:ext cx="17179" cy="19839"/>
            </a:xfrm>
            <a:custGeom>
              <a:avLst/>
              <a:gdLst/>
              <a:ahLst/>
              <a:cxnLst/>
              <a:rect l="l" t="t" r="r" b="b"/>
              <a:pathLst>
                <a:path w="536" h="619" extrusionOk="0">
                  <a:moveTo>
                    <a:pt x="117" y="0"/>
                  </a:moveTo>
                  <a:cubicBezTo>
                    <a:pt x="51" y="0"/>
                    <a:pt x="0" y="84"/>
                    <a:pt x="17" y="151"/>
                  </a:cubicBezTo>
                  <a:cubicBezTo>
                    <a:pt x="17" y="201"/>
                    <a:pt x="51" y="251"/>
                    <a:pt x="84" y="284"/>
                  </a:cubicBezTo>
                  <a:cubicBezTo>
                    <a:pt x="134" y="368"/>
                    <a:pt x="184" y="435"/>
                    <a:pt x="251" y="485"/>
                  </a:cubicBezTo>
                  <a:cubicBezTo>
                    <a:pt x="301" y="535"/>
                    <a:pt x="385" y="585"/>
                    <a:pt x="452" y="619"/>
                  </a:cubicBezTo>
                  <a:cubicBezTo>
                    <a:pt x="468" y="602"/>
                    <a:pt x="385" y="552"/>
                    <a:pt x="285" y="451"/>
                  </a:cubicBezTo>
                  <a:cubicBezTo>
                    <a:pt x="234" y="401"/>
                    <a:pt x="168" y="335"/>
                    <a:pt x="134" y="268"/>
                  </a:cubicBezTo>
                  <a:cubicBezTo>
                    <a:pt x="84" y="201"/>
                    <a:pt x="51" y="67"/>
                    <a:pt x="134" y="50"/>
                  </a:cubicBezTo>
                  <a:cubicBezTo>
                    <a:pt x="218" y="67"/>
                    <a:pt x="318" y="117"/>
                    <a:pt x="368" y="184"/>
                  </a:cubicBezTo>
                  <a:cubicBezTo>
                    <a:pt x="418" y="251"/>
                    <a:pt x="452" y="318"/>
                    <a:pt x="468" y="401"/>
                  </a:cubicBezTo>
                  <a:cubicBezTo>
                    <a:pt x="485" y="468"/>
                    <a:pt x="485" y="535"/>
                    <a:pt x="485" y="619"/>
                  </a:cubicBezTo>
                  <a:cubicBezTo>
                    <a:pt x="535" y="552"/>
                    <a:pt x="535" y="468"/>
                    <a:pt x="518" y="385"/>
                  </a:cubicBezTo>
                  <a:cubicBezTo>
                    <a:pt x="502" y="301"/>
                    <a:pt x="468" y="218"/>
                    <a:pt x="418" y="151"/>
                  </a:cubicBezTo>
                  <a:cubicBezTo>
                    <a:pt x="351" y="50"/>
                    <a:pt x="234" y="0"/>
                    <a:pt x="117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0" name="Google Shape;2630;p53"/>
            <p:cNvSpPr/>
            <p:nvPr/>
          </p:nvSpPr>
          <p:spPr>
            <a:xfrm>
              <a:off x="6601716" y="4643188"/>
              <a:ext cx="51440" cy="2756"/>
            </a:xfrm>
            <a:custGeom>
              <a:avLst/>
              <a:gdLst/>
              <a:ahLst/>
              <a:cxnLst/>
              <a:rect l="l" t="t" r="r" b="b"/>
              <a:pathLst>
                <a:path w="1605" h="86" extrusionOk="0">
                  <a:moveTo>
                    <a:pt x="1563" y="1"/>
                  </a:moveTo>
                  <a:cubicBezTo>
                    <a:pt x="1455" y="1"/>
                    <a:pt x="1150" y="22"/>
                    <a:pt x="803" y="22"/>
                  </a:cubicBezTo>
                  <a:cubicBezTo>
                    <a:pt x="586" y="22"/>
                    <a:pt x="389" y="18"/>
                    <a:pt x="245" y="18"/>
                  </a:cubicBezTo>
                  <a:cubicBezTo>
                    <a:pt x="101" y="18"/>
                    <a:pt x="9" y="22"/>
                    <a:pt x="1" y="39"/>
                  </a:cubicBezTo>
                  <a:cubicBezTo>
                    <a:pt x="241" y="69"/>
                    <a:pt x="482" y="86"/>
                    <a:pt x="722" y="86"/>
                  </a:cubicBezTo>
                  <a:cubicBezTo>
                    <a:pt x="1016" y="86"/>
                    <a:pt x="1311" y="61"/>
                    <a:pt x="1605" y="6"/>
                  </a:cubicBezTo>
                  <a:cubicBezTo>
                    <a:pt x="1605" y="2"/>
                    <a:pt x="1590" y="1"/>
                    <a:pt x="156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1" name="Google Shape;2631;p53"/>
            <p:cNvSpPr/>
            <p:nvPr/>
          </p:nvSpPr>
          <p:spPr>
            <a:xfrm>
              <a:off x="6567454" y="4644854"/>
              <a:ext cx="5929" cy="9230"/>
            </a:xfrm>
            <a:custGeom>
              <a:avLst/>
              <a:gdLst/>
              <a:ahLst/>
              <a:cxnLst/>
              <a:rect l="l" t="t" r="r" b="b"/>
              <a:pathLst>
                <a:path w="185" h="288" extrusionOk="0">
                  <a:moveTo>
                    <a:pt x="9" y="1"/>
                  </a:moveTo>
                  <a:cubicBezTo>
                    <a:pt x="6" y="1"/>
                    <a:pt x="3" y="2"/>
                    <a:pt x="1" y="4"/>
                  </a:cubicBezTo>
                  <a:lnTo>
                    <a:pt x="17" y="4"/>
                  </a:lnTo>
                  <a:cubicBezTo>
                    <a:pt x="1" y="20"/>
                    <a:pt x="34" y="71"/>
                    <a:pt x="84" y="154"/>
                  </a:cubicBezTo>
                  <a:cubicBezTo>
                    <a:pt x="117" y="221"/>
                    <a:pt x="134" y="288"/>
                    <a:pt x="151" y="288"/>
                  </a:cubicBezTo>
                  <a:cubicBezTo>
                    <a:pt x="184" y="288"/>
                    <a:pt x="184" y="204"/>
                    <a:pt x="134" y="121"/>
                  </a:cubicBezTo>
                  <a:cubicBezTo>
                    <a:pt x="91" y="48"/>
                    <a:pt x="34" y="1"/>
                    <a:pt x="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2" name="Google Shape;2632;p53"/>
            <p:cNvSpPr/>
            <p:nvPr/>
          </p:nvSpPr>
          <p:spPr>
            <a:xfrm>
              <a:off x="6554057" y="4630368"/>
              <a:ext cx="7532" cy="6186"/>
            </a:xfrm>
            <a:custGeom>
              <a:avLst/>
              <a:gdLst/>
              <a:ahLst/>
              <a:cxnLst/>
              <a:rect l="l" t="t" r="r" b="b"/>
              <a:pathLst>
                <a:path w="235" h="193" extrusionOk="0">
                  <a:moveTo>
                    <a:pt x="23" y="0"/>
                  </a:moveTo>
                  <a:cubicBezTo>
                    <a:pt x="20" y="0"/>
                    <a:pt x="18" y="2"/>
                    <a:pt x="18" y="5"/>
                  </a:cubicBezTo>
                  <a:cubicBezTo>
                    <a:pt x="1" y="21"/>
                    <a:pt x="34" y="71"/>
                    <a:pt x="84" y="122"/>
                  </a:cubicBezTo>
                  <a:cubicBezTo>
                    <a:pt x="139" y="163"/>
                    <a:pt x="183" y="193"/>
                    <a:pt x="206" y="193"/>
                  </a:cubicBezTo>
                  <a:cubicBezTo>
                    <a:pt x="211" y="193"/>
                    <a:pt x="215" y="191"/>
                    <a:pt x="218" y="188"/>
                  </a:cubicBezTo>
                  <a:cubicBezTo>
                    <a:pt x="235" y="172"/>
                    <a:pt x="201" y="122"/>
                    <a:pt x="134" y="71"/>
                  </a:cubicBezTo>
                  <a:cubicBezTo>
                    <a:pt x="93" y="30"/>
                    <a:pt x="41" y="0"/>
                    <a:pt x="2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3" name="Google Shape;2633;p53"/>
            <p:cNvSpPr/>
            <p:nvPr/>
          </p:nvSpPr>
          <p:spPr>
            <a:xfrm>
              <a:off x="6535500" y="4623092"/>
              <a:ext cx="10576" cy="3846"/>
            </a:xfrm>
            <a:custGeom>
              <a:avLst/>
              <a:gdLst/>
              <a:ahLst/>
              <a:cxnLst/>
              <a:rect l="l" t="t" r="r" b="b"/>
              <a:pathLst>
                <a:path w="330" h="120" extrusionOk="0">
                  <a:moveTo>
                    <a:pt x="93" y="0"/>
                  </a:moveTo>
                  <a:cubicBezTo>
                    <a:pt x="36" y="0"/>
                    <a:pt x="0" y="20"/>
                    <a:pt x="12" y="31"/>
                  </a:cubicBezTo>
                  <a:cubicBezTo>
                    <a:pt x="12" y="48"/>
                    <a:pt x="79" y="48"/>
                    <a:pt x="162" y="65"/>
                  </a:cubicBezTo>
                  <a:cubicBezTo>
                    <a:pt x="230" y="92"/>
                    <a:pt x="276" y="119"/>
                    <a:pt x="300" y="119"/>
                  </a:cubicBezTo>
                  <a:cubicBezTo>
                    <a:pt x="305" y="119"/>
                    <a:pt x="309" y="118"/>
                    <a:pt x="312" y="115"/>
                  </a:cubicBezTo>
                  <a:cubicBezTo>
                    <a:pt x="329" y="115"/>
                    <a:pt x="279" y="48"/>
                    <a:pt x="179" y="14"/>
                  </a:cubicBezTo>
                  <a:cubicBezTo>
                    <a:pt x="148" y="4"/>
                    <a:pt x="118" y="0"/>
                    <a:pt x="9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4" name="Google Shape;2634;p53"/>
            <p:cNvSpPr/>
            <p:nvPr/>
          </p:nvSpPr>
          <p:spPr>
            <a:xfrm>
              <a:off x="6522456" y="4621009"/>
              <a:ext cx="5416" cy="2436"/>
            </a:xfrm>
            <a:custGeom>
              <a:avLst/>
              <a:gdLst/>
              <a:ahLst/>
              <a:cxnLst/>
              <a:rect l="l" t="t" r="r" b="b"/>
              <a:pathLst>
                <a:path w="169" h="76" extrusionOk="0">
                  <a:moveTo>
                    <a:pt x="32" y="0"/>
                  </a:moveTo>
                  <a:cubicBezTo>
                    <a:pt x="14" y="0"/>
                    <a:pt x="1" y="4"/>
                    <a:pt x="1" y="13"/>
                  </a:cubicBezTo>
                  <a:cubicBezTo>
                    <a:pt x="1" y="29"/>
                    <a:pt x="34" y="46"/>
                    <a:pt x="68" y="63"/>
                  </a:cubicBezTo>
                  <a:cubicBezTo>
                    <a:pt x="93" y="71"/>
                    <a:pt x="118" y="75"/>
                    <a:pt x="137" y="75"/>
                  </a:cubicBezTo>
                  <a:cubicBezTo>
                    <a:pt x="156" y="75"/>
                    <a:pt x="168" y="71"/>
                    <a:pt x="168" y="63"/>
                  </a:cubicBezTo>
                  <a:cubicBezTo>
                    <a:pt x="168" y="46"/>
                    <a:pt x="135" y="13"/>
                    <a:pt x="101" y="13"/>
                  </a:cubicBezTo>
                  <a:cubicBezTo>
                    <a:pt x="76" y="4"/>
                    <a:pt x="51" y="0"/>
                    <a:pt x="3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5" name="Google Shape;2635;p53"/>
            <p:cNvSpPr/>
            <p:nvPr/>
          </p:nvSpPr>
          <p:spPr>
            <a:xfrm>
              <a:off x="5657619" y="1979736"/>
              <a:ext cx="728881" cy="1056592"/>
            </a:xfrm>
            <a:custGeom>
              <a:avLst/>
              <a:gdLst/>
              <a:ahLst/>
              <a:cxnLst/>
              <a:rect l="l" t="t" r="r" b="b"/>
              <a:pathLst>
                <a:path w="22742" h="32967" extrusionOk="0">
                  <a:moveTo>
                    <a:pt x="20151" y="0"/>
                  </a:moveTo>
                  <a:lnTo>
                    <a:pt x="16910" y="8388"/>
                  </a:lnTo>
                  <a:cubicBezTo>
                    <a:pt x="16592" y="8288"/>
                    <a:pt x="16275" y="8221"/>
                    <a:pt x="15957" y="8188"/>
                  </a:cubicBezTo>
                  <a:lnTo>
                    <a:pt x="9341" y="8137"/>
                  </a:lnTo>
                  <a:cubicBezTo>
                    <a:pt x="9341" y="8137"/>
                    <a:pt x="4729" y="5464"/>
                    <a:pt x="4829" y="5230"/>
                  </a:cubicBezTo>
                  <a:lnTo>
                    <a:pt x="4829" y="5230"/>
                  </a:lnTo>
                  <a:lnTo>
                    <a:pt x="1" y="9574"/>
                  </a:lnTo>
                  <a:lnTo>
                    <a:pt x="4863" y="15890"/>
                  </a:lnTo>
                  <a:lnTo>
                    <a:pt x="7536" y="25047"/>
                  </a:lnTo>
                  <a:cubicBezTo>
                    <a:pt x="7536" y="25047"/>
                    <a:pt x="5347" y="29925"/>
                    <a:pt x="5347" y="32966"/>
                  </a:cubicBezTo>
                  <a:lnTo>
                    <a:pt x="22039" y="30995"/>
                  </a:lnTo>
                  <a:cubicBezTo>
                    <a:pt x="22039" y="30995"/>
                    <a:pt x="21755" y="27302"/>
                    <a:pt x="18664" y="22975"/>
                  </a:cubicBezTo>
                  <a:lnTo>
                    <a:pt x="20151" y="15239"/>
                  </a:lnTo>
                  <a:cubicBezTo>
                    <a:pt x="21321" y="12164"/>
                    <a:pt x="21956" y="13468"/>
                    <a:pt x="22474" y="8188"/>
                  </a:cubicBezTo>
                  <a:cubicBezTo>
                    <a:pt x="22741" y="5264"/>
                    <a:pt x="21922" y="2340"/>
                    <a:pt x="2015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6" name="Google Shape;2636;p53"/>
            <p:cNvSpPr/>
            <p:nvPr/>
          </p:nvSpPr>
          <p:spPr>
            <a:xfrm>
              <a:off x="5907705" y="2686054"/>
              <a:ext cx="101791" cy="27883"/>
            </a:xfrm>
            <a:custGeom>
              <a:avLst/>
              <a:gdLst/>
              <a:ahLst/>
              <a:cxnLst/>
              <a:rect l="l" t="t" r="r" b="b"/>
              <a:pathLst>
                <a:path w="3176" h="870" extrusionOk="0">
                  <a:moveTo>
                    <a:pt x="3171" y="0"/>
                  </a:moveTo>
                  <a:cubicBezTo>
                    <a:pt x="3134" y="0"/>
                    <a:pt x="3032" y="194"/>
                    <a:pt x="2791" y="419"/>
                  </a:cubicBezTo>
                  <a:cubicBezTo>
                    <a:pt x="2641" y="552"/>
                    <a:pt x="2457" y="619"/>
                    <a:pt x="2273" y="636"/>
                  </a:cubicBezTo>
                  <a:cubicBezTo>
                    <a:pt x="2263" y="637"/>
                    <a:pt x="2253" y="637"/>
                    <a:pt x="2243" y="637"/>
                  </a:cubicBezTo>
                  <a:cubicBezTo>
                    <a:pt x="2037" y="637"/>
                    <a:pt x="1845" y="478"/>
                    <a:pt x="1638" y="318"/>
                  </a:cubicBezTo>
                  <a:cubicBezTo>
                    <a:pt x="1442" y="168"/>
                    <a:pt x="1206" y="99"/>
                    <a:pt x="953" y="99"/>
                  </a:cubicBezTo>
                  <a:cubicBezTo>
                    <a:pt x="925" y="99"/>
                    <a:pt x="898" y="100"/>
                    <a:pt x="869" y="101"/>
                  </a:cubicBezTo>
                  <a:cubicBezTo>
                    <a:pt x="652" y="135"/>
                    <a:pt x="452" y="218"/>
                    <a:pt x="285" y="369"/>
                  </a:cubicBezTo>
                  <a:cubicBezTo>
                    <a:pt x="118" y="486"/>
                    <a:pt x="17" y="669"/>
                    <a:pt x="1" y="870"/>
                  </a:cubicBezTo>
                  <a:cubicBezTo>
                    <a:pt x="84" y="719"/>
                    <a:pt x="201" y="569"/>
                    <a:pt x="351" y="452"/>
                  </a:cubicBezTo>
                  <a:cubicBezTo>
                    <a:pt x="502" y="318"/>
                    <a:pt x="686" y="252"/>
                    <a:pt x="886" y="235"/>
                  </a:cubicBezTo>
                  <a:cubicBezTo>
                    <a:pt x="910" y="233"/>
                    <a:pt x="933" y="232"/>
                    <a:pt x="957" y="232"/>
                  </a:cubicBezTo>
                  <a:cubicBezTo>
                    <a:pt x="1169" y="232"/>
                    <a:pt x="1389" y="300"/>
                    <a:pt x="1554" y="435"/>
                  </a:cubicBezTo>
                  <a:cubicBezTo>
                    <a:pt x="1655" y="519"/>
                    <a:pt x="1772" y="602"/>
                    <a:pt x="1889" y="669"/>
                  </a:cubicBezTo>
                  <a:cubicBezTo>
                    <a:pt x="2006" y="736"/>
                    <a:pt x="2139" y="770"/>
                    <a:pt x="2273" y="770"/>
                  </a:cubicBezTo>
                  <a:cubicBezTo>
                    <a:pt x="2490" y="753"/>
                    <a:pt x="2707" y="653"/>
                    <a:pt x="2858" y="486"/>
                  </a:cubicBezTo>
                  <a:cubicBezTo>
                    <a:pt x="2958" y="385"/>
                    <a:pt x="3042" y="268"/>
                    <a:pt x="3108" y="151"/>
                  </a:cubicBezTo>
                  <a:cubicBezTo>
                    <a:pt x="3158" y="51"/>
                    <a:pt x="3175" y="1"/>
                    <a:pt x="3175" y="1"/>
                  </a:cubicBezTo>
                  <a:cubicBezTo>
                    <a:pt x="3174" y="0"/>
                    <a:pt x="3172" y="0"/>
                    <a:pt x="317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7" name="Google Shape;2637;p53"/>
            <p:cNvSpPr/>
            <p:nvPr/>
          </p:nvSpPr>
          <p:spPr>
            <a:xfrm>
              <a:off x="6172246" y="2852041"/>
              <a:ext cx="102304" cy="27916"/>
            </a:xfrm>
            <a:custGeom>
              <a:avLst/>
              <a:gdLst/>
              <a:ahLst/>
              <a:cxnLst/>
              <a:rect l="l" t="t" r="r" b="b"/>
              <a:pathLst>
                <a:path w="3192" h="871" extrusionOk="0">
                  <a:moveTo>
                    <a:pt x="3173" y="1"/>
                  </a:moveTo>
                  <a:cubicBezTo>
                    <a:pt x="3149" y="1"/>
                    <a:pt x="3032" y="195"/>
                    <a:pt x="2791" y="419"/>
                  </a:cubicBezTo>
                  <a:cubicBezTo>
                    <a:pt x="2657" y="536"/>
                    <a:pt x="2473" y="620"/>
                    <a:pt x="2273" y="637"/>
                  </a:cubicBezTo>
                  <a:cubicBezTo>
                    <a:pt x="2263" y="637"/>
                    <a:pt x="2253" y="638"/>
                    <a:pt x="2243" y="638"/>
                  </a:cubicBezTo>
                  <a:cubicBezTo>
                    <a:pt x="2039" y="638"/>
                    <a:pt x="1862" y="478"/>
                    <a:pt x="1655" y="319"/>
                  </a:cubicBezTo>
                  <a:cubicBezTo>
                    <a:pt x="1444" y="169"/>
                    <a:pt x="1206" y="99"/>
                    <a:pt x="966" y="99"/>
                  </a:cubicBezTo>
                  <a:cubicBezTo>
                    <a:pt x="939" y="99"/>
                    <a:pt x="913" y="100"/>
                    <a:pt x="886" y="102"/>
                  </a:cubicBezTo>
                  <a:cubicBezTo>
                    <a:pt x="669" y="119"/>
                    <a:pt x="452" y="219"/>
                    <a:pt x="285" y="369"/>
                  </a:cubicBezTo>
                  <a:cubicBezTo>
                    <a:pt x="134" y="486"/>
                    <a:pt x="17" y="670"/>
                    <a:pt x="1" y="870"/>
                  </a:cubicBezTo>
                  <a:cubicBezTo>
                    <a:pt x="101" y="703"/>
                    <a:pt x="218" y="570"/>
                    <a:pt x="351" y="436"/>
                  </a:cubicBezTo>
                  <a:cubicBezTo>
                    <a:pt x="502" y="319"/>
                    <a:pt x="702" y="252"/>
                    <a:pt x="886" y="236"/>
                  </a:cubicBezTo>
                  <a:cubicBezTo>
                    <a:pt x="911" y="234"/>
                    <a:pt x="936" y="233"/>
                    <a:pt x="961" y="233"/>
                  </a:cubicBezTo>
                  <a:cubicBezTo>
                    <a:pt x="1183" y="233"/>
                    <a:pt x="1391" y="301"/>
                    <a:pt x="1571" y="436"/>
                  </a:cubicBezTo>
                  <a:cubicBezTo>
                    <a:pt x="1671" y="520"/>
                    <a:pt x="1772" y="586"/>
                    <a:pt x="1889" y="670"/>
                  </a:cubicBezTo>
                  <a:cubicBezTo>
                    <a:pt x="2006" y="737"/>
                    <a:pt x="2139" y="770"/>
                    <a:pt x="2273" y="770"/>
                  </a:cubicBezTo>
                  <a:cubicBezTo>
                    <a:pt x="2507" y="754"/>
                    <a:pt x="2707" y="653"/>
                    <a:pt x="2858" y="486"/>
                  </a:cubicBezTo>
                  <a:cubicBezTo>
                    <a:pt x="2958" y="386"/>
                    <a:pt x="3058" y="269"/>
                    <a:pt x="3125" y="135"/>
                  </a:cubicBezTo>
                  <a:cubicBezTo>
                    <a:pt x="3159" y="52"/>
                    <a:pt x="3192" y="2"/>
                    <a:pt x="3175" y="2"/>
                  </a:cubicBezTo>
                  <a:cubicBezTo>
                    <a:pt x="3175" y="1"/>
                    <a:pt x="3174" y="1"/>
                    <a:pt x="317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8" name="Google Shape;2638;p53"/>
            <p:cNvSpPr/>
            <p:nvPr/>
          </p:nvSpPr>
          <p:spPr>
            <a:xfrm>
              <a:off x="6079621" y="2590065"/>
              <a:ext cx="39646" cy="105188"/>
            </a:xfrm>
            <a:custGeom>
              <a:avLst/>
              <a:gdLst/>
              <a:ahLst/>
              <a:cxnLst/>
              <a:rect l="l" t="t" r="r" b="b"/>
              <a:pathLst>
                <a:path w="1237" h="3282" extrusionOk="0">
                  <a:moveTo>
                    <a:pt x="762" y="1"/>
                  </a:moveTo>
                  <a:cubicBezTo>
                    <a:pt x="758" y="1"/>
                    <a:pt x="755" y="2"/>
                    <a:pt x="752" y="5"/>
                  </a:cubicBezTo>
                  <a:cubicBezTo>
                    <a:pt x="735" y="5"/>
                    <a:pt x="886" y="189"/>
                    <a:pt x="1019" y="506"/>
                  </a:cubicBezTo>
                  <a:cubicBezTo>
                    <a:pt x="1086" y="673"/>
                    <a:pt x="1103" y="874"/>
                    <a:pt x="1036" y="1058"/>
                  </a:cubicBezTo>
                  <a:cubicBezTo>
                    <a:pt x="986" y="1275"/>
                    <a:pt x="752" y="1392"/>
                    <a:pt x="518" y="1542"/>
                  </a:cubicBezTo>
                  <a:cubicBezTo>
                    <a:pt x="301" y="1693"/>
                    <a:pt x="134" y="1927"/>
                    <a:pt x="67" y="2194"/>
                  </a:cubicBezTo>
                  <a:cubicBezTo>
                    <a:pt x="0" y="2394"/>
                    <a:pt x="17" y="2628"/>
                    <a:pt x="100" y="2829"/>
                  </a:cubicBezTo>
                  <a:cubicBezTo>
                    <a:pt x="241" y="3158"/>
                    <a:pt x="442" y="3282"/>
                    <a:pt x="465" y="3282"/>
                  </a:cubicBezTo>
                  <a:cubicBezTo>
                    <a:pt x="467" y="3282"/>
                    <a:pt x="468" y="3281"/>
                    <a:pt x="468" y="3280"/>
                  </a:cubicBezTo>
                  <a:cubicBezTo>
                    <a:pt x="351" y="3130"/>
                    <a:pt x="267" y="2979"/>
                    <a:pt x="201" y="2795"/>
                  </a:cubicBezTo>
                  <a:cubicBezTo>
                    <a:pt x="134" y="2612"/>
                    <a:pt x="134" y="2411"/>
                    <a:pt x="184" y="2227"/>
                  </a:cubicBezTo>
                  <a:cubicBezTo>
                    <a:pt x="251" y="1993"/>
                    <a:pt x="401" y="1793"/>
                    <a:pt x="602" y="1659"/>
                  </a:cubicBezTo>
                  <a:cubicBezTo>
                    <a:pt x="718" y="1592"/>
                    <a:pt x="835" y="1509"/>
                    <a:pt x="936" y="1442"/>
                  </a:cubicBezTo>
                  <a:cubicBezTo>
                    <a:pt x="1053" y="1359"/>
                    <a:pt x="1119" y="1242"/>
                    <a:pt x="1170" y="1108"/>
                  </a:cubicBezTo>
                  <a:cubicBezTo>
                    <a:pt x="1236" y="891"/>
                    <a:pt x="1203" y="657"/>
                    <a:pt x="1103" y="456"/>
                  </a:cubicBezTo>
                  <a:cubicBezTo>
                    <a:pt x="1053" y="323"/>
                    <a:pt x="969" y="206"/>
                    <a:pt x="869" y="105"/>
                  </a:cubicBezTo>
                  <a:cubicBezTo>
                    <a:pt x="813" y="36"/>
                    <a:pt x="781" y="1"/>
                    <a:pt x="762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9" name="Google Shape;2639;p53"/>
            <p:cNvSpPr/>
            <p:nvPr/>
          </p:nvSpPr>
          <p:spPr>
            <a:xfrm>
              <a:off x="6129940" y="2762109"/>
              <a:ext cx="85702" cy="64837"/>
            </a:xfrm>
            <a:custGeom>
              <a:avLst/>
              <a:gdLst/>
              <a:ahLst/>
              <a:cxnLst/>
              <a:rect l="l" t="t" r="r" b="b"/>
              <a:pathLst>
                <a:path w="2674" h="2023" extrusionOk="0">
                  <a:moveTo>
                    <a:pt x="2624" y="1"/>
                  </a:moveTo>
                  <a:lnTo>
                    <a:pt x="2624" y="1"/>
                  </a:lnTo>
                  <a:cubicBezTo>
                    <a:pt x="2590" y="184"/>
                    <a:pt x="2540" y="368"/>
                    <a:pt x="2457" y="535"/>
                  </a:cubicBezTo>
                  <a:cubicBezTo>
                    <a:pt x="2357" y="702"/>
                    <a:pt x="2206" y="853"/>
                    <a:pt x="2039" y="936"/>
                  </a:cubicBezTo>
                  <a:cubicBezTo>
                    <a:pt x="1899" y="1001"/>
                    <a:pt x="1745" y="1038"/>
                    <a:pt x="1590" y="1038"/>
                  </a:cubicBezTo>
                  <a:cubicBezTo>
                    <a:pt x="1505" y="1038"/>
                    <a:pt x="1420" y="1027"/>
                    <a:pt x="1337" y="1003"/>
                  </a:cubicBezTo>
                  <a:cubicBezTo>
                    <a:pt x="1204" y="970"/>
                    <a:pt x="1087" y="936"/>
                    <a:pt x="953" y="920"/>
                  </a:cubicBezTo>
                  <a:cubicBezTo>
                    <a:pt x="908" y="908"/>
                    <a:pt x="862" y="903"/>
                    <a:pt x="816" y="903"/>
                  </a:cubicBezTo>
                  <a:cubicBezTo>
                    <a:pt x="723" y="903"/>
                    <a:pt x="630" y="925"/>
                    <a:pt x="552" y="970"/>
                  </a:cubicBezTo>
                  <a:cubicBezTo>
                    <a:pt x="351" y="1070"/>
                    <a:pt x="201" y="1237"/>
                    <a:pt x="118" y="1438"/>
                  </a:cubicBezTo>
                  <a:cubicBezTo>
                    <a:pt x="51" y="1571"/>
                    <a:pt x="17" y="1722"/>
                    <a:pt x="17" y="1855"/>
                  </a:cubicBezTo>
                  <a:cubicBezTo>
                    <a:pt x="1" y="1955"/>
                    <a:pt x="1" y="2022"/>
                    <a:pt x="17" y="2022"/>
                  </a:cubicBezTo>
                  <a:cubicBezTo>
                    <a:pt x="34" y="2022"/>
                    <a:pt x="67" y="1805"/>
                    <a:pt x="201" y="1488"/>
                  </a:cubicBezTo>
                  <a:cubicBezTo>
                    <a:pt x="285" y="1304"/>
                    <a:pt x="435" y="1170"/>
                    <a:pt x="602" y="1087"/>
                  </a:cubicBezTo>
                  <a:cubicBezTo>
                    <a:pt x="669" y="1053"/>
                    <a:pt x="740" y="1040"/>
                    <a:pt x="814" y="1040"/>
                  </a:cubicBezTo>
                  <a:cubicBezTo>
                    <a:pt x="962" y="1040"/>
                    <a:pt x="1126" y="1092"/>
                    <a:pt x="1304" y="1137"/>
                  </a:cubicBezTo>
                  <a:cubicBezTo>
                    <a:pt x="1396" y="1160"/>
                    <a:pt x="1489" y="1171"/>
                    <a:pt x="1582" y="1171"/>
                  </a:cubicBezTo>
                  <a:cubicBezTo>
                    <a:pt x="1760" y="1171"/>
                    <a:pt x="1936" y="1130"/>
                    <a:pt x="2089" y="1053"/>
                  </a:cubicBezTo>
                  <a:cubicBezTo>
                    <a:pt x="2290" y="953"/>
                    <a:pt x="2440" y="786"/>
                    <a:pt x="2540" y="585"/>
                  </a:cubicBezTo>
                  <a:cubicBezTo>
                    <a:pt x="2641" y="418"/>
                    <a:pt x="2674" y="201"/>
                    <a:pt x="2624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0" name="Google Shape;2640;p53"/>
            <p:cNvSpPr/>
            <p:nvPr/>
          </p:nvSpPr>
          <p:spPr>
            <a:xfrm>
              <a:off x="6163688" y="2934987"/>
              <a:ext cx="106053" cy="30223"/>
            </a:xfrm>
            <a:custGeom>
              <a:avLst/>
              <a:gdLst/>
              <a:ahLst/>
              <a:cxnLst/>
              <a:rect l="l" t="t" r="r" b="b"/>
              <a:pathLst>
                <a:path w="3309" h="943" extrusionOk="0">
                  <a:moveTo>
                    <a:pt x="967" y="0"/>
                  </a:moveTo>
                  <a:cubicBezTo>
                    <a:pt x="766" y="0"/>
                    <a:pt x="579" y="53"/>
                    <a:pt x="418" y="171"/>
                  </a:cubicBezTo>
                  <a:cubicBezTo>
                    <a:pt x="301" y="237"/>
                    <a:pt x="184" y="338"/>
                    <a:pt x="101" y="455"/>
                  </a:cubicBezTo>
                  <a:cubicBezTo>
                    <a:pt x="34" y="538"/>
                    <a:pt x="0" y="572"/>
                    <a:pt x="17" y="588"/>
                  </a:cubicBezTo>
                  <a:cubicBezTo>
                    <a:pt x="18" y="589"/>
                    <a:pt x="19" y="589"/>
                    <a:pt x="20" y="589"/>
                  </a:cubicBezTo>
                  <a:cubicBezTo>
                    <a:pt x="47" y="589"/>
                    <a:pt x="196" y="414"/>
                    <a:pt x="468" y="254"/>
                  </a:cubicBezTo>
                  <a:cubicBezTo>
                    <a:pt x="600" y="175"/>
                    <a:pt x="753" y="127"/>
                    <a:pt x="903" y="127"/>
                  </a:cubicBezTo>
                  <a:cubicBezTo>
                    <a:pt x="942" y="127"/>
                    <a:pt x="981" y="130"/>
                    <a:pt x="1019" y="137"/>
                  </a:cubicBezTo>
                  <a:cubicBezTo>
                    <a:pt x="1237" y="171"/>
                    <a:pt x="1387" y="371"/>
                    <a:pt x="1571" y="572"/>
                  </a:cubicBezTo>
                  <a:cubicBezTo>
                    <a:pt x="1755" y="772"/>
                    <a:pt x="2005" y="906"/>
                    <a:pt x="2289" y="939"/>
                  </a:cubicBezTo>
                  <a:cubicBezTo>
                    <a:pt x="2316" y="941"/>
                    <a:pt x="2344" y="942"/>
                    <a:pt x="2371" y="942"/>
                  </a:cubicBezTo>
                  <a:cubicBezTo>
                    <a:pt x="2561" y="942"/>
                    <a:pt x="2749" y="891"/>
                    <a:pt x="2924" y="789"/>
                  </a:cubicBezTo>
                  <a:cubicBezTo>
                    <a:pt x="3242" y="588"/>
                    <a:pt x="3309" y="354"/>
                    <a:pt x="3292" y="354"/>
                  </a:cubicBezTo>
                  <a:lnTo>
                    <a:pt x="3292" y="354"/>
                  </a:lnTo>
                  <a:cubicBezTo>
                    <a:pt x="3175" y="488"/>
                    <a:pt x="3025" y="605"/>
                    <a:pt x="2874" y="705"/>
                  </a:cubicBezTo>
                  <a:cubicBezTo>
                    <a:pt x="2721" y="775"/>
                    <a:pt x="2556" y="810"/>
                    <a:pt x="2399" y="810"/>
                  </a:cubicBezTo>
                  <a:cubicBezTo>
                    <a:pt x="2368" y="810"/>
                    <a:pt x="2337" y="808"/>
                    <a:pt x="2306" y="805"/>
                  </a:cubicBezTo>
                  <a:cubicBezTo>
                    <a:pt x="2055" y="772"/>
                    <a:pt x="1838" y="655"/>
                    <a:pt x="1688" y="471"/>
                  </a:cubicBezTo>
                  <a:cubicBezTo>
                    <a:pt x="1588" y="371"/>
                    <a:pt x="1504" y="271"/>
                    <a:pt x="1404" y="187"/>
                  </a:cubicBezTo>
                  <a:cubicBezTo>
                    <a:pt x="1304" y="87"/>
                    <a:pt x="1187" y="37"/>
                    <a:pt x="1053" y="3"/>
                  </a:cubicBezTo>
                  <a:cubicBezTo>
                    <a:pt x="1024" y="1"/>
                    <a:pt x="996" y="0"/>
                    <a:pt x="96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1" name="Google Shape;2641;p53"/>
            <p:cNvSpPr/>
            <p:nvPr/>
          </p:nvSpPr>
          <p:spPr>
            <a:xfrm>
              <a:off x="5875591" y="2950755"/>
              <a:ext cx="103906" cy="42979"/>
            </a:xfrm>
            <a:custGeom>
              <a:avLst/>
              <a:gdLst/>
              <a:ahLst/>
              <a:cxnLst/>
              <a:rect l="l" t="t" r="r" b="b"/>
              <a:pathLst>
                <a:path w="3242" h="1341" extrusionOk="0">
                  <a:moveTo>
                    <a:pt x="821" y="0"/>
                  </a:moveTo>
                  <a:cubicBezTo>
                    <a:pt x="710" y="0"/>
                    <a:pt x="602" y="21"/>
                    <a:pt x="501" y="63"/>
                  </a:cubicBezTo>
                  <a:cubicBezTo>
                    <a:pt x="368" y="96"/>
                    <a:pt x="234" y="163"/>
                    <a:pt x="117" y="247"/>
                  </a:cubicBezTo>
                  <a:cubicBezTo>
                    <a:pt x="33" y="313"/>
                    <a:pt x="0" y="347"/>
                    <a:pt x="0" y="364"/>
                  </a:cubicBezTo>
                  <a:cubicBezTo>
                    <a:pt x="1" y="365"/>
                    <a:pt x="3" y="365"/>
                    <a:pt x="5" y="365"/>
                  </a:cubicBezTo>
                  <a:cubicBezTo>
                    <a:pt x="38" y="365"/>
                    <a:pt x="220" y="241"/>
                    <a:pt x="535" y="146"/>
                  </a:cubicBezTo>
                  <a:cubicBezTo>
                    <a:pt x="607" y="127"/>
                    <a:pt x="682" y="117"/>
                    <a:pt x="758" y="117"/>
                  </a:cubicBezTo>
                  <a:cubicBezTo>
                    <a:pt x="874" y="117"/>
                    <a:pt x="992" y="139"/>
                    <a:pt x="1103" y="180"/>
                  </a:cubicBezTo>
                  <a:cubicBezTo>
                    <a:pt x="1303" y="263"/>
                    <a:pt x="1387" y="497"/>
                    <a:pt x="1521" y="748"/>
                  </a:cubicBezTo>
                  <a:cubicBezTo>
                    <a:pt x="1637" y="982"/>
                    <a:pt x="1855" y="1182"/>
                    <a:pt x="2105" y="1266"/>
                  </a:cubicBezTo>
                  <a:cubicBezTo>
                    <a:pt x="2232" y="1315"/>
                    <a:pt x="2358" y="1340"/>
                    <a:pt x="2485" y="1340"/>
                  </a:cubicBezTo>
                  <a:cubicBezTo>
                    <a:pt x="2576" y="1340"/>
                    <a:pt x="2666" y="1327"/>
                    <a:pt x="2757" y="1299"/>
                  </a:cubicBezTo>
                  <a:cubicBezTo>
                    <a:pt x="2957" y="1266"/>
                    <a:pt x="3125" y="1149"/>
                    <a:pt x="3242" y="965"/>
                  </a:cubicBezTo>
                  <a:lnTo>
                    <a:pt x="3242" y="965"/>
                  </a:lnTo>
                  <a:cubicBezTo>
                    <a:pt x="3091" y="1065"/>
                    <a:pt x="2907" y="1149"/>
                    <a:pt x="2740" y="1199"/>
                  </a:cubicBezTo>
                  <a:cubicBezTo>
                    <a:pt x="2673" y="1210"/>
                    <a:pt x="2607" y="1216"/>
                    <a:pt x="2540" y="1216"/>
                  </a:cubicBezTo>
                  <a:cubicBezTo>
                    <a:pt x="2408" y="1216"/>
                    <a:pt x="2278" y="1193"/>
                    <a:pt x="2155" y="1149"/>
                  </a:cubicBezTo>
                  <a:cubicBezTo>
                    <a:pt x="1938" y="1065"/>
                    <a:pt x="1754" y="882"/>
                    <a:pt x="1637" y="681"/>
                  </a:cubicBezTo>
                  <a:cubicBezTo>
                    <a:pt x="1587" y="547"/>
                    <a:pt x="1521" y="430"/>
                    <a:pt x="1454" y="330"/>
                  </a:cubicBezTo>
                  <a:cubicBezTo>
                    <a:pt x="1387" y="213"/>
                    <a:pt x="1270" y="113"/>
                    <a:pt x="1153" y="63"/>
                  </a:cubicBezTo>
                  <a:cubicBezTo>
                    <a:pt x="1044" y="21"/>
                    <a:pt x="932" y="0"/>
                    <a:pt x="82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2" name="Google Shape;2642;p53"/>
            <p:cNvSpPr/>
            <p:nvPr/>
          </p:nvSpPr>
          <p:spPr>
            <a:xfrm>
              <a:off x="6173848" y="2522728"/>
              <a:ext cx="87336" cy="65991"/>
            </a:xfrm>
            <a:custGeom>
              <a:avLst/>
              <a:gdLst/>
              <a:ahLst/>
              <a:cxnLst/>
              <a:rect l="l" t="t" r="r" b="b"/>
              <a:pathLst>
                <a:path w="2725" h="2059" extrusionOk="0">
                  <a:moveTo>
                    <a:pt x="586" y="1"/>
                  </a:moveTo>
                  <a:cubicBezTo>
                    <a:pt x="435" y="1"/>
                    <a:pt x="285" y="1"/>
                    <a:pt x="151" y="34"/>
                  </a:cubicBezTo>
                  <a:cubicBezTo>
                    <a:pt x="51" y="51"/>
                    <a:pt x="1" y="68"/>
                    <a:pt x="1" y="84"/>
                  </a:cubicBezTo>
                  <a:cubicBezTo>
                    <a:pt x="1" y="94"/>
                    <a:pt x="19" y="97"/>
                    <a:pt x="52" y="97"/>
                  </a:cubicBezTo>
                  <a:cubicBezTo>
                    <a:pt x="105" y="97"/>
                    <a:pt x="197" y="89"/>
                    <a:pt x="318" y="89"/>
                  </a:cubicBezTo>
                  <a:cubicBezTo>
                    <a:pt x="392" y="89"/>
                    <a:pt x="476" y="92"/>
                    <a:pt x="569" y="101"/>
                  </a:cubicBezTo>
                  <a:cubicBezTo>
                    <a:pt x="769" y="118"/>
                    <a:pt x="936" y="218"/>
                    <a:pt x="1070" y="352"/>
                  </a:cubicBezTo>
                  <a:cubicBezTo>
                    <a:pt x="1220" y="519"/>
                    <a:pt x="1220" y="769"/>
                    <a:pt x="1237" y="1037"/>
                  </a:cubicBezTo>
                  <a:cubicBezTo>
                    <a:pt x="1254" y="1304"/>
                    <a:pt x="1388" y="1571"/>
                    <a:pt x="1571" y="1755"/>
                  </a:cubicBezTo>
                  <a:cubicBezTo>
                    <a:pt x="1738" y="1906"/>
                    <a:pt x="1939" y="2006"/>
                    <a:pt x="2156" y="2039"/>
                  </a:cubicBezTo>
                  <a:cubicBezTo>
                    <a:pt x="2210" y="2053"/>
                    <a:pt x="2264" y="2059"/>
                    <a:pt x="2317" y="2059"/>
                  </a:cubicBezTo>
                  <a:cubicBezTo>
                    <a:pt x="2462" y="2059"/>
                    <a:pt x="2602" y="2012"/>
                    <a:pt x="2724" y="1939"/>
                  </a:cubicBezTo>
                  <a:lnTo>
                    <a:pt x="2724" y="1939"/>
                  </a:lnTo>
                  <a:cubicBezTo>
                    <a:pt x="2618" y="1949"/>
                    <a:pt x="2512" y="1958"/>
                    <a:pt x="2406" y="1958"/>
                  </a:cubicBezTo>
                  <a:cubicBezTo>
                    <a:pt x="2328" y="1958"/>
                    <a:pt x="2251" y="1953"/>
                    <a:pt x="2173" y="1939"/>
                  </a:cubicBezTo>
                  <a:cubicBezTo>
                    <a:pt x="1989" y="1906"/>
                    <a:pt x="1805" y="1805"/>
                    <a:pt x="1672" y="1672"/>
                  </a:cubicBezTo>
                  <a:cubicBezTo>
                    <a:pt x="1504" y="1488"/>
                    <a:pt x="1404" y="1271"/>
                    <a:pt x="1388" y="1020"/>
                  </a:cubicBezTo>
                  <a:cubicBezTo>
                    <a:pt x="1371" y="886"/>
                    <a:pt x="1371" y="753"/>
                    <a:pt x="1354" y="619"/>
                  </a:cubicBezTo>
                  <a:cubicBezTo>
                    <a:pt x="1321" y="485"/>
                    <a:pt x="1271" y="368"/>
                    <a:pt x="1170" y="268"/>
                  </a:cubicBezTo>
                  <a:cubicBezTo>
                    <a:pt x="1020" y="101"/>
                    <a:pt x="803" y="18"/>
                    <a:pt x="58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3" name="Google Shape;2643;p53"/>
            <p:cNvSpPr/>
            <p:nvPr/>
          </p:nvSpPr>
          <p:spPr>
            <a:xfrm>
              <a:off x="6311471" y="2125917"/>
              <a:ext cx="36986" cy="105605"/>
            </a:xfrm>
            <a:custGeom>
              <a:avLst/>
              <a:gdLst/>
              <a:ahLst/>
              <a:cxnLst/>
              <a:rect l="l" t="t" r="r" b="b"/>
              <a:pathLst>
                <a:path w="1154" h="3295" extrusionOk="0">
                  <a:moveTo>
                    <a:pt x="652" y="1"/>
                  </a:moveTo>
                  <a:cubicBezTo>
                    <a:pt x="619" y="18"/>
                    <a:pt x="786" y="185"/>
                    <a:pt x="920" y="502"/>
                  </a:cubicBezTo>
                  <a:cubicBezTo>
                    <a:pt x="1003" y="669"/>
                    <a:pt x="1037" y="870"/>
                    <a:pt x="987" y="1070"/>
                  </a:cubicBezTo>
                  <a:cubicBezTo>
                    <a:pt x="920" y="1271"/>
                    <a:pt x="719" y="1404"/>
                    <a:pt x="485" y="1571"/>
                  </a:cubicBezTo>
                  <a:cubicBezTo>
                    <a:pt x="268" y="1722"/>
                    <a:pt x="118" y="1956"/>
                    <a:pt x="51" y="2223"/>
                  </a:cubicBezTo>
                  <a:cubicBezTo>
                    <a:pt x="1" y="2440"/>
                    <a:pt x="34" y="2674"/>
                    <a:pt x="118" y="2875"/>
                  </a:cubicBezTo>
                  <a:cubicBezTo>
                    <a:pt x="273" y="3186"/>
                    <a:pt x="487" y="3294"/>
                    <a:pt x="516" y="3294"/>
                  </a:cubicBezTo>
                  <a:cubicBezTo>
                    <a:pt x="518" y="3294"/>
                    <a:pt x="519" y="3294"/>
                    <a:pt x="519" y="3292"/>
                  </a:cubicBezTo>
                  <a:cubicBezTo>
                    <a:pt x="385" y="3159"/>
                    <a:pt x="285" y="3008"/>
                    <a:pt x="218" y="2841"/>
                  </a:cubicBezTo>
                  <a:cubicBezTo>
                    <a:pt x="151" y="2641"/>
                    <a:pt x="134" y="2440"/>
                    <a:pt x="185" y="2257"/>
                  </a:cubicBezTo>
                  <a:cubicBezTo>
                    <a:pt x="235" y="2023"/>
                    <a:pt x="385" y="1822"/>
                    <a:pt x="569" y="1672"/>
                  </a:cubicBezTo>
                  <a:cubicBezTo>
                    <a:pt x="686" y="1605"/>
                    <a:pt x="786" y="1521"/>
                    <a:pt x="886" y="1438"/>
                  </a:cubicBezTo>
                  <a:cubicBezTo>
                    <a:pt x="1003" y="1354"/>
                    <a:pt x="1070" y="1237"/>
                    <a:pt x="1104" y="1104"/>
                  </a:cubicBezTo>
                  <a:cubicBezTo>
                    <a:pt x="1154" y="886"/>
                    <a:pt x="1120" y="652"/>
                    <a:pt x="1020" y="452"/>
                  </a:cubicBezTo>
                  <a:cubicBezTo>
                    <a:pt x="953" y="335"/>
                    <a:pt x="870" y="218"/>
                    <a:pt x="769" y="101"/>
                  </a:cubicBezTo>
                  <a:cubicBezTo>
                    <a:pt x="703" y="34"/>
                    <a:pt x="652" y="1"/>
                    <a:pt x="652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4" name="Google Shape;2644;p53"/>
            <p:cNvSpPr/>
            <p:nvPr/>
          </p:nvSpPr>
          <p:spPr>
            <a:xfrm>
              <a:off x="6072122" y="2470037"/>
              <a:ext cx="87304" cy="65767"/>
            </a:xfrm>
            <a:custGeom>
              <a:avLst/>
              <a:gdLst/>
              <a:ahLst/>
              <a:cxnLst/>
              <a:rect l="l" t="t" r="r" b="b"/>
              <a:pathLst>
                <a:path w="2724" h="2052" extrusionOk="0">
                  <a:moveTo>
                    <a:pt x="447" y="1"/>
                  </a:moveTo>
                  <a:cubicBezTo>
                    <a:pt x="348" y="1"/>
                    <a:pt x="245" y="12"/>
                    <a:pt x="150" y="24"/>
                  </a:cubicBezTo>
                  <a:cubicBezTo>
                    <a:pt x="69" y="51"/>
                    <a:pt x="21" y="67"/>
                    <a:pt x="5" y="81"/>
                  </a:cubicBezTo>
                  <a:lnTo>
                    <a:pt x="5" y="81"/>
                  </a:lnTo>
                  <a:cubicBezTo>
                    <a:pt x="2" y="80"/>
                    <a:pt x="0" y="77"/>
                    <a:pt x="0" y="74"/>
                  </a:cubicBezTo>
                  <a:lnTo>
                    <a:pt x="0" y="91"/>
                  </a:lnTo>
                  <a:cubicBezTo>
                    <a:pt x="0" y="88"/>
                    <a:pt x="2" y="85"/>
                    <a:pt x="5" y="81"/>
                  </a:cubicBezTo>
                  <a:lnTo>
                    <a:pt x="5" y="81"/>
                  </a:lnTo>
                  <a:cubicBezTo>
                    <a:pt x="13" y="86"/>
                    <a:pt x="30" y="87"/>
                    <a:pt x="55" y="87"/>
                  </a:cubicBezTo>
                  <a:cubicBezTo>
                    <a:pt x="94" y="87"/>
                    <a:pt x="151" y="84"/>
                    <a:pt x="225" y="84"/>
                  </a:cubicBezTo>
                  <a:cubicBezTo>
                    <a:pt x="316" y="84"/>
                    <a:pt x="432" y="88"/>
                    <a:pt x="568" y="108"/>
                  </a:cubicBezTo>
                  <a:cubicBezTo>
                    <a:pt x="752" y="124"/>
                    <a:pt x="936" y="208"/>
                    <a:pt x="1069" y="358"/>
                  </a:cubicBezTo>
                  <a:cubicBezTo>
                    <a:pt x="1220" y="509"/>
                    <a:pt x="1220" y="759"/>
                    <a:pt x="1237" y="1043"/>
                  </a:cubicBezTo>
                  <a:cubicBezTo>
                    <a:pt x="1253" y="1311"/>
                    <a:pt x="1370" y="1561"/>
                    <a:pt x="1571" y="1762"/>
                  </a:cubicBezTo>
                  <a:cubicBezTo>
                    <a:pt x="1721" y="1912"/>
                    <a:pt x="1938" y="2012"/>
                    <a:pt x="2155" y="2029"/>
                  </a:cubicBezTo>
                  <a:cubicBezTo>
                    <a:pt x="2216" y="2044"/>
                    <a:pt x="2276" y="2052"/>
                    <a:pt x="2335" y="2052"/>
                  </a:cubicBezTo>
                  <a:cubicBezTo>
                    <a:pt x="2473" y="2052"/>
                    <a:pt x="2607" y="2011"/>
                    <a:pt x="2724" y="1929"/>
                  </a:cubicBezTo>
                  <a:lnTo>
                    <a:pt x="2724" y="1929"/>
                  </a:lnTo>
                  <a:cubicBezTo>
                    <a:pt x="2616" y="1948"/>
                    <a:pt x="2508" y="1957"/>
                    <a:pt x="2401" y="1957"/>
                  </a:cubicBezTo>
                  <a:cubicBezTo>
                    <a:pt x="2324" y="1957"/>
                    <a:pt x="2248" y="1953"/>
                    <a:pt x="2172" y="1946"/>
                  </a:cubicBezTo>
                  <a:cubicBezTo>
                    <a:pt x="1972" y="1896"/>
                    <a:pt x="1805" y="1795"/>
                    <a:pt x="1654" y="1662"/>
                  </a:cubicBezTo>
                  <a:cubicBezTo>
                    <a:pt x="1487" y="1495"/>
                    <a:pt x="1387" y="1261"/>
                    <a:pt x="1370" y="1027"/>
                  </a:cubicBezTo>
                  <a:cubicBezTo>
                    <a:pt x="1370" y="893"/>
                    <a:pt x="1353" y="759"/>
                    <a:pt x="1337" y="626"/>
                  </a:cubicBezTo>
                  <a:cubicBezTo>
                    <a:pt x="1320" y="492"/>
                    <a:pt x="1253" y="358"/>
                    <a:pt x="1170" y="258"/>
                  </a:cubicBezTo>
                  <a:cubicBezTo>
                    <a:pt x="1003" y="108"/>
                    <a:pt x="802" y="7"/>
                    <a:pt x="568" y="7"/>
                  </a:cubicBezTo>
                  <a:cubicBezTo>
                    <a:pt x="529" y="3"/>
                    <a:pt x="488" y="1"/>
                    <a:pt x="44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5" name="Google Shape;2645;p53"/>
            <p:cNvSpPr/>
            <p:nvPr/>
          </p:nvSpPr>
          <p:spPr>
            <a:xfrm>
              <a:off x="6262755" y="2240527"/>
              <a:ext cx="87849" cy="65991"/>
            </a:xfrm>
            <a:custGeom>
              <a:avLst/>
              <a:gdLst/>
              <a:ahLst/>
              <a:cxnLst/>
              <a:rect l="l" t="t" r="r" b="b"/>
              <a:pathLst>
                <a:path w="2741" h="2059" extrusionOk="0">
                  <a:moveTo>
                    <a:pt x="585" y="0"/>
                  </a:moveTo>
                  <a:cubicBezTo>
                    <a:pt x="435" y="0"/>
                    <a:pt x="301" y="0"/>
                    <a:pt x="151" y="34"/>
                  </a:cubicBezTo>
                  <a:cubicBezTo>
                    <a:pt x="50" y="51"/>
                    <a:pt x="0" y="84"/>
                    <a:pt x="0" y="84"/>
                  </a:cubicBezTo>
                  <a:cubicBezTo>
                    <a:pt x="0" y="93"/>
                    <a:pt x="18" y="96"/>
                    <a:pt x="51" y="96"/>
                  </a:cubicBezTo>
                  <a:cubicBezTo>
                    <a:pt x="104" y="96"/>
                    <a:pt x="197" y="89"/>
                    <a:pt x="317" y="89"/>
                  </a:cubicBezTo>
                  <a:cubicBezTo>
                    <a:pt x="391" y="89"/>
                    <a:pt x="476" y="92"/>
                    <a:pt x="568" y="101"/>
                  </a:cubicBezTo>
                  <a:cubicBezTo>
                    <a:pt x="769" y="117"/>
                    <a:pt x="936" y="218"/>
                    <a:pt x="1086" y="351"/>
                  </a:cubicBezTo>
                  <a:cubicBezTo>
                    <a:pt x="1237" y="518"/>
                    <a:pt x="1220" y="769"/>
                    <a:pt x="1237" y="1036"/>
                  </a:cubicBezTo>
                  <a:cubicBezTo>
                    <a:pt x="1270" y="1320"/>
                    <a:pt x="1387" y="1571"/>
                    <a:pt x="1588" y="1755"/>
                  </a:cubicBezTo>
                  <a:cubicBezTo>
                    <a:pt x="1738" y="1905"/>
                    <a:pt x="1939" y="2006"/>
                    <a:pt x="2156" y="2039"/>
                  </a:cubicBezTo>
                  <a:cubicBezTo>
                    <a:pt x="2209" y="2052"/>
                    <a:pt x="2264" y="2059"/>
                    <a:pt x="2319" y="2059"/>
                  </a:cubicBezTo>
                  <a:cubicBezTo>
                    <a:pt x="2469" y="2059"/>
                    <a:pt x="2618" y="2012"/>
                    <a:pt x="2741" y="1939"/>
                  </a:cubicBezTo>
                  <a:lnTo>
                    <a:pt x="2741" y="1939"/>
                  </a:lnTo>
                  <a:cubicBezTo>
                    <a:pt x="2634" y="1948"/>
                    <a:pt x="2523" y="1958"/>
                    <a:pt x="2412" y="1958"/>
                  </a:cubicBezTo>
                  <a:cubicBezTo>
                    <a:pt x="2331" y="1958"/>
                    <a:pt x="2250" y="1953"/>
                    <a:pt x="2172" y="1939"/>
                  </a:cubicBezTo>
                  <a:cubicBezTo>
                    <a:pt x="1989" y="1905"/>
                    <a:pt x="1805" y="1805"/>
                    <a:pt x="1671" y="1671"/>
                  </a:cubicBezTo>
                  <a:cubicBezTo>
                    <a:pt x="1504" y="1488"/>
                    <a:pt x="1404" y="1270"/>
                    <a:pt x="1387" y="1020"/>
                  </a:cubicBezTo>
                  <a:cubicBezTo>
                    <a:pt x="1387" y="886"/>
                    <a:pt x="1370" y="752"/>
                    <a:pt x="1354" y="635"/>
                  </a:cubicBezTo>
                  <a:cubicBezTo>
                    <a:pt x="1320" y="502"/>
                    <a:pt x="1270" y="368"/>
                    <a:pt x="1170" y="268"/>
                  </a:cubicBezTo>
                  <a:cubicBezTo>
                    <a:pt x="1020" y="117"/>
                    <a:pt x="802" y="17"/>
                    <a:pt x="58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6" name="Google Shape;2646;p53"/>
            <p:cNvSpPr/>
            <p:nvPr/>
          </p:nvSpPr>
          <p:spPr>
            <a:xfrm>
              <a:off x="5873956" y="2527567"/>
              <a:ext cx="33781" cy="100701"/>
            </a:xfrm>
            <a:custGeom>
              <a:avLst/>
              <a:gdLst/>
              <a:ahLst/>
              <a:cxnLst/>
              <a:rect l="l" t="t" r="r" b="b"/>
              <a:pathLst>
                <a:path w="1054" h="3142" extrusionOk="0">
                  <a:moveTo>
                    <a:pt x="18" y="0"/>
                  </a:moveTo>
                  <a:cubicBezTo>
                    <a:pt x="1" y="34"/>
                    <a:pt x="201" y="134"/>
                    <a:pt x="452" y="368"/>
                  </a:cubicBezTo>
                  <a:cubicBezTo>
                    <a:pt x="586" y="502"/>
                    <a:pt x="686" y="685"/>
                    <a:pt x="703" y="869"/>
                  </a:cubicBezTo>
                  <a:cubicBezTo>
                    <a:pt x="719" y="1086"/>
                    <a:pt x="569" y="1287"/>
                    <a:pt x="419" y="1521"/>
                  </a:cubicBezTo>
                  <a:cubicBezTo>
                    <a:pt x="268" y="1738"/>
                    <a:pt x="201" y="2022"/>
                    <a:pt x="235" y="2289"/>
                  </a:cubicBezTo>
                  <a:cubicBezTo>
                    <a:pt x="268" y="2507"/>
                    <a:pt x="369" y="2707"/>
                    <a:pt x="536" y="2874"/>
                  </a:cubicBezTo>
                  <a:cubicBezTo>
                    <a:pt x="653" y="3024"/>
                    <a:pt x="853" y="3125"/>
                    <a:pt x="1054" y="3141"/>
                  </a:cubicBezTo>
                  <a:cubicBezTo>
                    <a:pt x="886" y="3041"/>
                    <a:pt x="736" y="2941"/>
                    <a:pt x="602" y="2807"/>
                  </a:cubicBezTo>
                  <a:cubicBezTo>
                    <a:pt x="469" y="2657"/>
                    <a:pt x="402" y="2473"/>
                    <a:pt x="369" y="2273"/>
                  </a:cubicBezTo>
                  <a:cubicBezTo>
                    <a:pt x="335" y="2039"/>
                    <a:pt x="402" y="1788"/>
                    <a:pt x="536" y="1588"/>
                  </a:cubicBezTo>
                  <a:cubicBezTo>
                    <a:pt x="602" y="1487"/>
                    <a:pt x="686" y="1370"/>
                    <a:pt x="753" y="1253"/>
                  </a:cubicBezTo>
                  <a:cubicBezTo>
                    <a:pt x="820" y="1136"/>
                    <a:pt x="836" y="1003"/>
                    <a:pt x="836" y="869"/>
                  </a:cubicBezTo>
                  <a:cubicBezTo>
                    <a:pt x="803" y="635"/>
                    <a:pt x="686" y="435"/>
                    <a:pt x="519" y="284"/>
                  </a:cubicBezTo>
                  <a:cubicBezTo>
                    <a:pt x="419" y="201"/>
                    <a:pt x="302" y="117"/>
                    <a:pt x="168" y="50"/>
                  </a:cubicBezTo>
                  <a:cubicBezTo>
                    <a:pt x="68" y="17"/>
                    <a:pt x="18" y="0"/>
                    <a:pt x="1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7" name="Google Shape;2647;p53"/>
            <p:cNvSpPr/>
            <p:nvPr/>
          </p:nvSpPr>
          <p:spPr>
            <a:xfrm>
              <a:off x="5780787" y="2282641"/>
              <a:ext cx="89996" cy="63203"/>
            </a:xfrm>
            <a:custGeom>
              <a:avLst/>
              <a:gdLst/>
              <a:ahLst/>
              <a:cxnLst/>
              <a:rect l="l" t="t" r="r" b="b"/>
              <a:pathLst>
                <a:path w="2808" h="1972" extrusionOk="0">
                  <a:moveTo>
                    <a:pt x="466" y="0"/>
                  </a:moveTo>
                  <a:cubicBezTo>
                    <a:pt x="361" y="0"/>
                    <a:pt x="251" y="19"/>
                    <a:pt x="151" y="57"/>
                  </a:cubicBezTo>
                  <a:cubicBezTo>
                    <a:pt x="51" y="73"/>
                    <a:pt x="1" y="90"/>
                    <a:pt x="1" y="107"/>
                  </a:cubicBezTo>
                  <a:cubicBezTo>
                    <a:pt x="1" y="114"/>
                    <a:pt x="10" y="116"/>
                    <a:pt x="29" y="116"/>
                  </a:cubicBezTo>
                  <a:cubicBezTo>
                    <a:pt x="91" y="116"/>
                    <a:pt x="248" y="87"/>
                    <a:pt x="458" y="87"/>
                  </a:cubicBezTo>
                  <a:cubicBezTo>
                    <a:pt x="494" y="87"/>
                    <a:pt x="530" y="88"/>
                    <a:pt x="569" y="90"/>
                  </a:cubicBezTo>
                  <a:cubicBezTo>
                    <a:pt x="769" y="107"/>
                    <a:pt x="953" y="190"/>
                    <a:pt x="1087" y="324"/>
                  </a:cubicBezTo>
                  <a:cubicBezTo>
                    <a:pt x="1237" y="474"/>
                    <a:pt x="1254" y="725"/>
                    <a:pt x="1287" y="1009"/>
                  </a:cubicBezTo>
                  <a:cubicBezTo>
                    <a:pt x="1304" y="1276"/>
                    <a:pt x="1438" y="1527"/>
                    <a:pt x="1655" y="1711"/>
                  </a:cubicBezTo>
                  <a:cubicBezTo>
                    <a:pt x="1822" y="1861"/>
                    <a:pt x="2022" y="1945"/>
                    <a:pt x="2240" y="1961"/>
                  </a:cubicBezTo>
                  <a:cubicBezTo>
                    <a:pt x="2281" y="1968"/>
                    <a:pt x="2321" y="1972"/>
                    <a:pt x="2362" y="1972"/>
                  </a:cubicBezTo>
                  <a:cubicBezTo>
                    <a:pt x="2521" y="1972"/>
                    <a:pt x="2675" y="1921"/>
                    <a:pt x="2808" y="1828"/>
                  </a:cubicBezTo>
                  <a:lnTo>
                    <a:pt x="2808" y="1828"/>
                  </a:lnTo>
                  <a:cubicBezTo>
                    <a:pt x="2691" y="1859"/>
                    <a:pt x="2575" y="1871"/>
                    <a:pt x="2458" y="1871"/>
                  </a:cubicBezTo>
                  <a:cubicBezTo>
                    <a:pt x="2391" y="1871"/>
                    <a:pt x="2324" y="1867"/>
                    <a:pt x="2256" y="1861"/>
                  </a:cubicBezTo>
                  <a:cubicBezTo>
                    <a:pt x="2056" y="1828"/>
                    <a:pt x="1872" y="1744"/>
                    <a:pt x="1738" y="1610"/>
                  </a:cubicBezTo>
                  <a:cubicBezTo>
                    <a:pt x="1555" y="1443"/>
                    <a:pt x="1454" y="1226"/>
                    <a:pt x="1421" y="992"/>
                  </a:cubicBezTo>
                  <a:cubicBezTo>
                    <a:pt x="1404" y="859"/>
                    <a:pt x="1404" y="725"/>
                    <a:pt x="1371" y="591"/>
                  </a:cubicBezTo>
                  <a:cubicBezTo>
                    <a:pt x="1337" y="458"/>
                    <a:pt x="1270" y="341"/>
                    <a:pt x="1187" y="240"/>
                  </a:cubicBezTo>
                  <a:cubicBezTo>
                    <a:pt x="1020" y="90"/>
                    <a:pt x="803" y="6"/>
                    <a:pt x="569" y="6"/>
                  </a:cubicBezTo>
                  <a:cubicBezTo>
                    <a:pt x="535" y="2"/>
                    <a:pt x="501" y="0"/>
                    <a:pt x="466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8" name="Google Shape;2648;p53"/>
            <p:cNvSpPr/>
            <p:nvPr/>
          </p:nvSpPr>
          <p:spPr>
            <a:xfrm>
              <a:off x="5794729" y="2181075"/>
              <a:ext cx="89996" cy="63555"/>
            </a:xfrm>
            <a:custGeom>
              <a:avLst/>
              <a:gdLst/>
              <a:ahLst/>
              <a:cxnLst/>
              <a:rect l="l" t="t" r="r" b="b"/>
              <a:pathLst>
                <a:path w="2808" h="1983" extrusionOk="0">
                  <a:moveTo>
                    <a:pt x="568" y="1"/>
                  </a:moveTo>
                  <a:cubicBezTo>
                    <a:pt x="434" y="1"/>
                    <a:pt x="284" y="18"/>
                    <a:pt x="150" y="51"/>
                  </a:cubicBezTo>
                  <a:cubicBezTo>
                    <a:pt x="50" y="84"/>
                    <a:pt x="0" y="101"/>
                    <a:pt x="0" y="118"/>
                  </a:cubicBezTo>
                  <a:cubicBezTo>
                    <a:pt x="0" y="120"/>
                    <a:pt x="5" y="121"/>
                    <a:pt x="15" y="121"/>
                  </a:cubicBezTo>
                  <a:cubicBezTo>
                    <a:pt x="61" y="121"/>
                    <a:pt x="215" y="98"/>
                    <a:pt x="428" y="98"/>
                  </a:cubicBezTo>
                  <a:cubicBezTo>
                    <a:pt x="472" y="98"/>
                    <a:pt x="519" y="99"/>
                    <a:pt x="568" y="101"/>
                  </a:cubicBezTo>
                  <a:cubicBezTo>
                    <a:pt x="769" y="118"/>
                    <a:pt x="952" y="201"/>
                    <a:pt x="1086" y="335"/>
                  </a:cubicBezTo>
                  <a:cubicBezTo>
                    <a:pt x="1236" y="485"/>
                    <a:pt x="1253" y="736"/>
                    <a:pt x="1287" y="1020"/>
                  </a:cubicBezTo>
                  <a:cubicBezTo>
                    <a:pt x="1303" y="1287"/>
                    <a:pt x="1437" y="1538"/>
                    <a:pt x="1654" y="1722"/>
                  </a:cubicBezTo>
                  <a:cubicBezTo>
                    <a:pt x="1805" y="1855"/>
                    <a:pt x="2022" y="1956"/>
                    <a:pt x="2239" y="1972"/>
                  </a:cubicBezTo>
                  <a:cubicBezTo>
                    <a:pt x="2280" y="1979"/>
                    <a:pt x="2321" y="1983"/>
                    <a:pt x="2362" y="1983"/>
                  </a:cubicBezTo>
                  <a:cubicBezTo>
                    <a:pt x="2520" y="1983"/>
                    <a:pt x="2674" y="1932"/>
                    <a:pt x="2807" y="1839"/>
                  </a:cubicBezTo>
                  <a:lnTo>
                    <a:pt x="2807" y="1839"/>
                  </a:lnTo>
                  <a:cubicBezTo>
                    <a:pt x="2673" y="1863"/>
                    <a:pt x="2538" y="1879"/>
                    <a:pt x="2403" y="1879"/>
                  </a:cubicBezTo>
                  <a:cubicBezTo>
                    <a:pt x="2354" y="1879"/>
                    <a:pt x="2305" y="1877"/>
                    <a:pt x="2256" y="1872"/>
                  </a:cubicBezTo>
                  <a:cubicBezTo>
                    <a:pt x="2055" y="1839"/>
                    <a:pt x="1871" y="1755"/>
                    <a:pt x="1738" y="1622"/>
                  </a:cubicBezTo>
                  <a:cubicBezTo>
                    <a:pt x="1554" y="1454"/>
                    <a:pt x="1454" y="1237"/>
                    <a:pt x="1420" y="987"/>
                  </a:cubicBezTo>
                  <a:cubicBezTo>
                    <a:pt x="1404" y="870"/>
                    <a:pt x="1404" y="736"/>
                    <a:pt x="1370" y="602"/>
                  </a:cubicBezTo>
                  <a:cubicBezTo>
                    <a:pt x="1337" y="469"/>
                    <a:pt x="1270" y="335"/>
                    <a:pt x="1186" y="251"/>
                  </a:cubicBezTo>
                  <a:cubicBezTo>
                    <a:pt x="1019" y="101"/>
                    <a:pt x="802" y="1"/>
                    <a:pt x="568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9" name="Google Shape;2649;p53"/>
            <p:cNvSpPr/>
            <p:nvPr/>
          </p:nvSpPr>
          <p:spPr>
            <a:xfrm>
              <a:off x="5792037" y="2418854"/>
              <a:ext cx="89996" cy="63299"/>
            </a:xfrm>
            <a:custGeom>
              <a:avLst/>
              <a:gdLst/>
              <a:ahLst/>
              <a:cxnLst/>
              <a:rect l="l" t="t" r="r" b="b"/>
              <a:pathLst>
                <a:path w="2808" h="1975" extrusionOk="0">
                  <a:moveTo>
                    <a:pt x="585" y="0"/>
                  </a:moveTo>
                  <a:cubicBezTo>
                    <a:pt x="435" y="0"/>
                    <a:pt x="301" y="17"/>
                    <a:pt x="151" y="51"/>
                  </a:cubicBezTo>
                  <a:cubicBezTo>
                    <a:pt x="51" y="67"/>
                    <a:pt x="1" y="101"/>
                    <a:pt x="1" y="101"/>
                  </a:cubicBezTo>
                  <a:lnTo>
                    <a:pt x="17" y="101"/>
                  </a:lnTo>
                  <a:cubicBezTo>
                    <a:pt x="17" y="108"/>
                    <a:pt x="27" y="110"/>
                    <a:pt x="45" y="110"/>
                  </a:cubicBezTo>
                  <a:cubicBezTo>
                    <a:pt x="96" y="110"/>
                    <a:pt x="212" y="91"/>
                    <a:pt x="373" y="91"/>
                  </a:cubicBezTo>
                  <a:cubicBezTo>
                    <a:pt x="433" y="91"/>
                    <a:pt x="498" y="94"/>
                    <a:pt x="569" y="101"/>
                  </a:cubicBezTo>
                  <a:cubicBezTo>
                    <a:pt x="769" y="117"/>
                    <a:pt x="953" y="201"/>
                    <a:pt x="1087" y="335"/>
                  </a:cubicBezTo>
                  <a:cubicBezTo>
                    <a:pt x="1254" y="485"/>
                    <a:pt x="1254" y="736"/>
                    <a:pt x="1287" y="1003"/>
                  </a:cubicBezTo>
                  <a:cubicBezTo>
                    <a:pt x="1320" y="1270"/>
                    <a:pt x="1454" y="1521"/>
                    <a:pt x="1655" y="1705"/>
                  </a:cubicBezTo>
                  <a:cubicBezTo>
                    <a:pt x="1822" y="1855"/>
                    <a:pt x="2022" y="1939"/>
                    <a:pt x="2256" y="1955"/>
                  </a:cubicBezTo>
                  <a:cubicBezTo>
                    <a:pt x="2304" y="1968"/>
                    <a:pt x="2355" y="1975"/>
                    <a:pt x="2405" y="1975"/>
                  </a:cubicBezTo>
                  <a:cubicBezTo>
                    <a:pt x="2549" y="1975"/>
                    <a:pt x="2696" y="1925"/>
                    <a:pt x="2808" y="1838"/>
                  </a:cubicBezTo>
                  <a:lnTo>
                    <a:pt x="2808" y="1838"/>
                  </a:lnTo>
                  <a:cubicBezTo>
                    <a:pt x="2685" y="1863"/>
                    <a:pt x="2545" y="1878"/>
                    <a:pt x="2407" y="1878"/>
                  </a:cubicBezTo>
                  <a:cubicBezTo>
                    <a:pt x="2356" y="1878"/>
                    <a:pt x="2305" y="1876"/>
                    <a:pt x="2256" y="1872"/>
                  </a:cubicBezTo>
                  <a:cubicBezTo>
                    <a:pt x="2072" y="1838"/>
                    <a:pt x="1889" y="1738"/>
                    <a:pt x="1738" y="1604"/>
                  </a:cubicBezTo>
                  <a:cubicBezTo>
                    <a:pt x="1571" y="1437"/>
                    <a:pt x="1454" y="1220"/>
                    <a:pt x="1421" y="986"/>
                  </a:cubicBezTo>
                  <a:cubicBezTo>
                    <a:pt x="1404" y="853"/>
                    <a:pt x="1404" y="719"/>
                    <a:pt x="1371" y="585"/>
                  </a:cubicBezTo>
                  <a:cubicBezTo>
                    <a:pt x="1354" y="452"/>
                    <a:pt x="1287" y="335"/>
                    <a:pt x="1187" y="234"/>
                  </a:cubicBezTo>
                  <a:cubicBezTo>
                    <a:pt x="1020" y="84"/>
                    <a:pt x="803" y="0"/>
                    <a:pt x="58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0" name="Google Shape;2650;p53"/>
            <p:cNvSpPr/>
            <p:nvPr/>
          </p:nvSpPr>
          <p:spPr>
            <a:xfrm>
              <a:off x="5724571" y="2266552"/>
              <a:ext cx="33236" cy="100381"/>
            </a:xfrm>
            <a:custGeom>
              <a:avLst/>
              <a:gdLst/>
              <a:ahLst/>
              <a:cxnLst/>
              <a:rect l="l" t="t" r="r" b="b"/>
              <a:pathLst>
                <a:path w="1037" h="3132" extrusionOk="0">
                  <a:moveTo>
                    <a:pt x="26" y="1"/>
                  </a:moveTo>
                  <a:cubicBezTo>
                    <a:pt x="20" y="1"/>
                    <a:pt x="17" y="3"/>
                    <a:pt x="17" y="7"/>
                  </a:cubicBezTo>
                  <a:cubicBezTo>
                    <a:pt x="0" y="24"/>
                    <a:pt x="201" y="124"/>
                    <a:pt x="451" y="358"/>
                  </a:cubicBezTo>
                  <a:cubicBezTo>
                    <a:pt x="585" y="508"/>
                    <a:pt x="669" y="676"/>
                    <a:pt x="685" y="876"/>
                  </a:cubicBezTo>
                  <a:cubicBezTo>
                    <a:pt x="719" y="1093"/>
                    <a:pt x="568" y="1294"/>
                    <a:pt x="401" y="1511"/>
                  </a:cubicBezTo>
                  <a:cubicBezTo>
                    <a:pt x="251" y="1745"/>
                    <a:pt x="201" y="2029"/>
                    <a:pt x="234" y="2296"/>
                  </a:cubicBezTo>
                  <a:cubicBezTo>
                    <a:pt x="268" y="2513"/>
                    <a:pt x="368" y="2714"/>
                    <a:pt x="518" y="2864"/>
                  </a:cubicBezTo>
                  <a:cubicBezTo>
                    <a:pt x="652" y="3031"/>
                    <a:pt x="836" y="3115"/>
                    <a:pt x="1036" y="3132"/>
                  </a:cubicBezTo>
                  <a:cubicBezTo>
                    <a:pt x="869" y="3048"/>
                    <a:pt x="719" y="2931"/>
                    <a:pt x="602" y="2798"/>
                  </a:cubicBezTo>
                  <a:cubicBezTo>
                    <a:pt x="468" y="2647"/>
                    <a:pt x="385" y="2463"/>
                    <a:pt x="368" y="2280"/>
                  </a:cubicBezTo>
                  <a:cubicBezTo>
                    <a:pt x="334" y="2029"/>
                    <a:pt x="385" y="1795"/>
                    <a:pt x="535" y="1595"/>
                  </a:cubicBezTo>
                  <a:cubicBezTo>
                    <a:pt x="602" y="1478"/>
                    <a:pt x="685" y="1377"/>
                    <a:pt x="735" y="1260"/>
                  </a:cubicBezTo>
                  <a:cubicBezTo>
                    <a:pt x="802" y="1143"/>
                    <a:pt x="836" y="993"/>
                    <a:pt x="819" y="859"/>
                  </a:cubicBezTo>
                  <a:cubicBezTo>
                    <a:pt x="802" y="642"/>
                    <a:pt x="685" y="442"/>
                    <a:pt x="518" y="291"/>
                  </a:cubicBezTo>
                  <a:cubicBezTo>
                    <a:pt x="401" y="191"/>
                    <a:pt x="284" y="124"/>
                    <a:pt x="151" y="57"/>
                  </a:cubicBezTo>
                  <a:cubicBezTo>
                    <a:pt x="88" y="20"/>
                    <a:pt x="44" y="1"/>
                    <a:pt x="2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1" name="Google Shape;2651;p53"/>
            <p:cNvSpPr/>
            <p:nvPr/>
          </p:nvSpPr>
          <p:spPr>
            <a:xfrm>
              <a:off x="6158849" y="2653203"/>
              <a:ext cx="87336" cy="65767"/>
            </a:xfrm>
            <a:custGeom>
              <a:avLst/>
              <a:gdLst/>
              <a:ahLst/>
              <a:cxnLst/>
              <a:rect l="l" t="t" r="r" b="b"/>
              <a:pathLst>
                <a:path w="2725" h="2052" extrusionOk="0">
                  <a:moveTo>
                    <a:pt x="459" y="0"/>
                  </a:moveTo>
                  <a:cubicBezTo>
                    <a:pt x="356" y="0"/>
                    <a:pt x="249" y="16"/>
                    <a:pt x="151" y="40"/>
                  </a:cubicBezTo>
                  <a:cubicBezTo>
                    <a:pt x="70" y="54"/>
                    <a:pt x="22" y="67"/>
                    <a:pt x="6" y="81"/>
                  </a:cubicBezTo>
                  <a:lnTo>
                    <a:pt x="6" y="81"/>
                  </a:lnTo>
                  <a:cubicBezTo>
                    <a:pt x="3" y="79"/>
                    <a:pt x="1" y="77"/>
                    <a:pt x="1" y="74"/>
                  </a:cubicBezTo>
                  <a:lnTo>
                    <a:pt x="1" y="90"/>
                  </a:lnTo>
                  <a:cubicBezTo>
                    <a:pt x="1" y="87"/>
                    <a:pt x="3" y="84"/>
                    <a:pt x="6" y="81"/>
                  </a:cubicBezTo>
                  <a:lnTo>
                    <a:pt x="6" y="81"/>
                  </a:lnTo>
                  <a:cubicBezTo>
                    <a:pt x="14" y="85"/>
                    <a:pt x="31" y="86"/>
                    <a:pt x="56" y="86"/>
                  </a:cubicBezTo>
                  <a:cubicBezTo>
                    <a:pt x="95" y="86"/>
                    <a:pt x="152" y="83"/>
                    <a:pt x="226" y="83"/>
                  </a:cubicBezTo>
                  <a:cubicBezTo>
                    <a:pt x="317" y="83"/>
                    <a:pt x="433" y="88"/>
                    <a:pt x="569" y="107"/>
                  </a:cubicBezTo>
                  <a:cubicBezTo>
                    <a:pt x="753" y="124"/>
                    <a:pt x="937" y="207"/>
                    <a:pt x="1070" y="358"/>
                  </a:cubicBezTo>
                  <a:cubicBezTo>
                    <a:pt x="1221" y="508"/>
                    <a:pt x="1221" y="759"/>
                    <a:pt x="1237" y="1043"/>
                  </a:cubicBezTo>
                  <a:cubicBezTo>
                    <a:pt x="1254" y="1310"/>
                    <a:pt x="1371" y="1561"/>
                    <a:pt x="1571" y="1761"/>
                  </a:cubicBezTo>
                  <a:cubicBezTo>
                    <a:pt x="1739" y="1912"/>
                    <a:pt x="1939" y="2012"/>
                    <a:pt x="2156" y="2028"/>
                  </a:cubicBezTo>
                  <a:cubicBezTo>
                    <a:pt x="2216" y="2044"/>
                    <a:pt x="2277" y="2051"/>
                    <a:pt x="2336" y="2051"/>
                  </a:cubicBezTo>
                  <a:cubicBezTo>
                    <a:pt x="2474" y="2051"/>
                    <a:pt x="2607" y="2010"/>
                    <a:pt x="2724" y="1928"/>
                  </a:cubicBezTo>
                  <a:lnTo>
                    <a:pt x="2724" y="1928"/>
                  </a:lnTo>
                  <a:cubicBezTo>
                    <a:pt x="2617" y="1948"/>
                    <a:pt x="2509" y="1956"/>
                    <a:pt x="2401" y="1956"/>
                  </a:cubicBezTo>
                  <a:cubicBezTo>
                    <a:pt x="2325" y="1956"/>
                    <a:pt x="2249" y="1952"/>
                    <a:pt x="2173" y="1945"/>
                  </a:cubicBezTo>
                  <a:cubicBezTo>
                    <a:pt x="1972" y="1895"/>
                    <a:pt x="1805" y="1795"/>
                    <a:pt x="1672" y="1661"/>
                  </a:cubicBezTo>
                  <a:cubicBezTo>
                    <a:pt x="1505" y="1494"/>
                    <a:pt x="1388" y="1260"/>
                    <a:pt x="1388" y="1026"/>
                  </a:cubicBezTo>
                  <a:cubicBezTo>
                    <a:pt x="1371" y="892"/>
                    <a:pt x="1371" y="759"/>
                    <a:pt x="1338" y="625"/>
                  </a:cubicBezTo>
                  <a:cubicBezTo>
                    <a:pt x="1321" y="491"/>
                    <a:pt x="1254" y="358"/>
                    <a:pt x="1170" y="257"/>
                  </a:cubicBezTo>
                  <a:cubicBezTo>
                    <a:pt x="1003" y="107"/>
                    <a:pt x="803" y="7"/>
                    <a:pt x="569" y="7"/>
                  </a:cubicBezTo>
                  <a:cubicBezTo>
                    <a:pt x="533" y="2"/>
                    <a:pt x="496" y="0"/>
                    <a:pt x="459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2" name="Google Shape;2652;p53"/>
            <p:cNvSpPr/>
            <p:nvPr/>
          </p:nvSpPr>
          <p:spPr>
            <a:xfrm>
              <a:off x="5908763" y="2847779"/>
              <a:ext cx="99131" cy="37563"/>
            </a:xfrm>
            <a:custGeom>
              <a:avLst/>
              <a:gdLst/>
              <a:ahLst/>
              <a:cxnLst/>
              <a:rect l="l" t="t" r="r" b="b"/>
              <a:pathLst>
                <a:path w="3093" h="1172" extrusionOk="0">
                  <a:moveTo>
                    <a:pt x="3092" y="1"/>
                  </a:moveTo>
                  <a:cubicBezTo>
                    <a:pt x="3009" y="168"/>
                    <a:pt x="2908" y="335"/>
                    <a:pt x="2775" y="469"/>
                  </a:cubicBezTo>
                  <a:cubicBezTo>
                    <a:pt x="2641" y="602"/>
                    <a:pt x="2457" y="686"/>
                    <a:pt x="2257" y="719"/>
                  </a:cubicBezTo>
                  <a:cubicBezTo>
                    <a:pt x="2209" y="726"/>
                    <a:pt x="2160" y="730"/>
                    <a:pt x="2112" y="730"/>
                  </a:cubicBezTo>
                  <a:cubicBezTo>
                    <a:pt x="1922" y="730"/>
                    <a:pt x="1731" y="679"/>
                    <a:pt x="1572" y="586"/>
                  </a:cubicBezTo>
                  <a:cubicBezTo>
                    <a:pt x="1455" y="519"/>
                    <a:pt x="1354" y="435"/>
                    <a:pt x="1221" y="385"/>
                  </a:cubicBezTo>
                  <a:cubicBezTo>
                    <a:pt x="1131" y="334"/>
                    <a:pt x="1032" y="312"/>
                    <a:pt x="931" y="312"/>
                  </a:cubicBezTo>
                  <a:cubicBezTo>
                    <a:pt x="900" y="312"/>
                    <a:pt x="868" y="314"/>
                    <a:pt x="836" y="318"/>
                  </a:cubicBezTo>
                  <a:cubicBezTo>
                    <a:pt x="619" y="352"/>
                    <a:pt x="419" y="469"/>
                    <a:pt x="268" y="653"/>
                  </a:cubicBezTo>
                  <a:cubicBezTo>
                    <a:pt x="185" y="753"/>
                    <a:pt x="101" y="887"/>
                    <a:pt x="51" y="1020"/>
                  </a:cubicBezTo>
                  <a:cubicBezTo>
                    <a:pt x="18" y="1104"/>
                    <a:pt x="1" y="1154"/>
                    <a:pt x="1" y="1171"/>
                  </a:cubicBezTo>
                  <a:cubicBezTo>
                    <a:pt x="2" y="1171"/>
                    <a:pt x="3" y="1171"/>
                    <a:pt x="5" y="1171"/>
                  </a:cubicBezTo>
                  <a:cubicBezTo>
                    <a:pt x="41" y="1171"/>
                    <a:pt x="126" y="961"/>
                    <a:pt x="352" y="719"/>
                  </a:cubicBezTo>
                  <a:cubicBezTo>
                    <a:pt x="486" y="569"/>
                    <a:pt x="653" y="469"/>
                    <a:pt x="853" y="452"/>
                  </a:cubicBezTo>
                  <a:cubicBezTo>
                    <a:pt x="876" y="449"/>
                    <a:pt x="899" y="447"/>
                    <a:pt x="921" y="447"/>
                  </a:cubicBezTo>
                  <a:cubicBezTo>
                    <a:pt x="1113" y="447"/>
                    <a:pt x="1295" y="568"/>
                    <a:pt x="1505" y="703"/>
                  </a:cubicBezTo>
                  <a:cubicBezTo>
                    <a:pt x="1680" y="815"/>
                    <a:pt x="1874" y="872"/>
                    <a:pt x="2080" y="872"/>
                  </a:cubicBezTo>
                  <a:cubicBezTo>
                    <a:pt x="2149" y="872"/>
                    <a:pt x="2219" y="866"/>
                    <a:pt x="2290" y="853"/>
                  </a:cubicBezTo>
                  <a:cubicBezTo>
                    <a:pt x="2507" y="803"/>
                    <a:pt x="2691" y="703"/>
                    <a:pt x="2841" y="536"/>
                  </a:cubicBezTo>
                  <a:cubicBezTo>
                    <a:pt x="2992" y="402"/>
                    <a:pt x="3092" y="201"/>
                    <a:pt x="3092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3" name="Google Shape;2653;p53"/>
            <p:cNvSpPr/>
            <p:nvPr/>
          </p:nvSpPr>
          <p:spPr>
            <a:xfrm>
              <a:off x="6060872" y="2865470"/>
              <a:ext cx="57337" cy="95894"/>
            </a:xfrm>
            <a:custGeom>
              <a:avLst/>
              <a:gdLst/>
              <a:ahLst/>
              <a:cxnLst/>
              <a:rect l="l" t="t" r="r" b="b"/>
              <a:pathLst>
                <a:path w="1789" h="2992" extrusionOk="0">
                  <a:moveTo>
                    <a:pt x="1571" y="0"/>
                  </a:moveTo>
                  <a:cubicBezTo>
                    <a:pt x="1638" y="167"/>
                    <a:pt x="1671" y="351"/>
                    <a:pt x="1671" y="535"/>
                  </a:cubicBezTo>
                  <a:cubicBezTo>
                    <a:pt x="1671" y="736"/>
                    <a:pt x="1604" y="919"/>
                    <a:pt x="1487" y="1086"/>
                  </a:cubicBezTo>
                  <a:cubicBezTo>
                    <a:pt x="1354" y="1270"/>
                    <a:pt x="1136" y="1421"/>
                    <a:pt x="902" y="1471"/>
                  </a:cubicBezTo>
                  <a:cubicBezTo>
                    <a:pt x="769" y="1504"/>
                    <a:pt x="652" y="1538"/>
                    <a:pt x="518" y="1571"/>
                  </a:cubicBezTo>
                  <a:cubicBezTo>
                    <a:pt x="385" y="1621"/>
                    <a:pt x="268" y="1688"/>
                    <a:pt x="184" y="1805"/>
                  </a:cubicBezTo>
                  <a:cubicBezTo>
                    <a:pt x="67" y="1989"/>
                    <a:pt x="0" y="2206"/>
                    <a:pt x="34" y="2440"/>
                  </a:cubicBezTo>
                  <a:cubicBezTo>
                    <a:pt x="34" y="2573"/>
                    <a:pt x="67" y="2707"/>
                    <a:pt x="134" y="2841"/>
                  </a:cubicBezTo>
                  <a:cubicBezTo>
                    <a:pt x="167" y="2941"/>
                    <a:pt x="201" y="2991"/>
                    <a:pt x="201" y="2991"/>
                  </a:cubicBezTo>
                  <a:cubicBezTo>
                    <a:pt x="234" y="2974"/>
                    <a:pt x="134" y="2774"/>
                    <a:pt x="134" y="2423"/>
                  </a:cubicBezTo>
                  <a:cubicBezTo>
                    <a:pt x="117" y="2239"/>
                    <a:pt x="184" y="2039"/>
                    <a:pt x="301" y="1888"/>
                  </a:cubicBezTo>
                  <a:cubicBezTo>
                    <a:pt x="418" y="1705"/>
                    <a:pt x="669" y="1671"/>
                    <a:pt x="936" y="1604"/>
                  </a:cubicBezTo>
                  <a:cubicBezTo>
                    <a:pt x="1203" y="1538"/>
                    <a:pt x="1437" y="1387"/>
                    <a:pt x="1588" y="1153"/>
                  </a:cubicBezTo>
                  <a:cubicBezTo>
                    <a:pt x="1721" y="969"/>
                    <a:pt x="1788" y="752"/>
                    <a:pt x="1771" y="535"/>
                  </a:cubicBezTo>
                  <a:cubicBezTo>
                    <a:pt x="1788" y="335"/>
                    <a:pt x="1721" y="134"/>
                    <a:pt x="157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4" name="Google Shape;2654;p53"/>
            <p:cNvSpPr/>
            <p:nvPr/>
          </p:nvSpPr>
          <p:spPr>
            <a:xfrm>
              <a:off x="5974113" y="2766179"/>
              <a:ext cx="106053" cy="36345"/>
            </a:xfrm>
            <a:custGeom>
              <a:avLst/>
              <a:gdLst/>
              <a:ahLst/>
              <a:cxnLst/>
              <a:rect l="l" t="t" r="r" b="b"/>
              <a:pathLst>
                <a:path w="3309" h="1134" extrusionOk="0">
                  <a:moveTo>
                    <a:pt x="898" y="1"/>
                  </a:moveTo>
                  <a:cubicBezTo>
                    <a:pt x="744" y="1"/>
                    <a:pt x="590" y="38"/>
                    <a:pt x="452" y="108"/>
                  </a:cubicBezTo>
                  <a:cubicBezTo>
                    <a:pt x="335" y="174"/>
                    <a:pt x="218" y="258"/>
                    <a:pt x="101" y="358"/>
                  </a:cubicBezTo>
                  <a:cubicBezTo>
                    <a:pt x="34" y="425"/>
                    <a:pt x="0" y="475"/>
                    <a:pt x="0" y="475"/>
                  </a:cubicBezTo>
                  <a:cubicBezTo>
                    <a:pt x="1" y="476"/>
                    <a:pt x="3" y="476"/>
                    <a:pt x="4" y="476"/>
                  </a:cubicBezTo>
                  <a:cubicBezTo>
                    <a:pt x="35" y="476"/>
                    <a:pt x="201" y="335"/>
                    <a:pt x="502" y="208"/>
                  </a:cubicBezTo>
                  <a:cubicBezTo>
                    <a:pt x="606" y="156"/>
                    <a:pt x="724" y="129"/>
                    <a:pt x="846" y="129"/>
                  </a:cubicBezTo>
                  <a:cubicBezTo>
                    <a:pt x="919" y="129"/>
                    <a:pt x="995" y="139"/>
                    <a:pt x="1070" y="158"/>
                  </a:cubicBezTo>
                  <a:cubicBezTo>
                    <a:pt x="1270" y="208"/>
                    <a:pt x="1404" y="425"/>
                    <a:pt x="1554" y="659"/>
                  </a:cubicBezTo>
                  <a:cubicBezTo>
                    <a:pt x="1721" y="876"/>
                    <a:pt x="1955" y="1043"/>
                    <a:pt x="2223" y="1110"/>
                  </a:cubicBezTo>
                  <a:cubicBezTo>
                    <a:pt x="2287" y="1126"/>
                    <a:pt x="2355" y="1134"/>
                    <a:pt x="2424" y="1134"/>
                  </a:cubicBezTo>
                  <a:cubicBezTo>
                    <a:pt x="2570" y="1134"/>
                    <a:pt x="2721" y="1100"/>
                    <a:pt x="2858" y="1043"/>
                  </a:cubicBezTo>
                  <a:cubicBezTo>
                    <a:pt x="3208" y="893"/>
                    <a:pt x="3309" y="659"/>
                    <a:pt x="3292" y="659"/>
                  </a:cubicBezTo>
                  <a:lnTo>
                    <a:pt x="3292" y="659"/>
                  </a:lnTo>
                  <a:cubicBezTo>
                    <a:pt x="3158" y="776"/>
                    <a:pt x="2991" y="876"/>
                    <a:pt x="2824" y="943"/>
                  </a:cubicBezTo>
                  <a:cubicBezTo>
                    <a:pt x="2713" y="983"/>
                    <a:pt x="2595" y="1005"/>
                    <a:pt x="2476" y="1005"/>
                  </a:cubicBezTo>
                  <a:cubicBezTo>
                    <a:pt x="2398" y="1005"/>
                    <a:pt x="2318" y="996"/>
                    <a:pt x="2239" y="976"/>
                  </a:cubicBezTo>
                  <a:cubicBezTo>
                    <a:pt x="2005" y="910"/>
                    <a:pt x="1805" y="776"/>
                    <a:pt x="1671" y="575"/>
                  </a:cubicBezTo>
                  <a:cubicBezTo>
                    <a:pt x="1604" y="475"/>
                    <a:pt x="1521" y="358"/>
                    <a:pt x="1437" y="241"/>
                  </a:cubicBezTo>
                  <a:cubicBezTo>
                    <a:pt x="1354" y="141"/>
                    <a:pt x="1237" y="74"/>
                    <a:pt x="1103" y="24"/>
                  </a:cubicBezTo>
                  <a:cubicBezTo>
                    <a:pt x="1036" y="8"/>
                    <a:pt x="967" y="1"/>
                    <a:pt x="898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5" name="Google Shape;2655;p53"/>
            <p:cNvSpPr/>
            <p:nvPr/>
          </p:nvSpPr>
          <p:spPr>
            <a:xfrm>
              <a:off x="5943056" y="2565194"/>
              <a:ext cx="106053" cy="34646"/>
            </a:xfrm>
            <a:custGeom>
              <a:avLst/>
              <a:gdLst/>
              <a:ahLst/>
              <a:cxnLst/>
              <a:rect l="l" t="t" r="r" b="b"/>
              <a:pathLst>
                <a:path w="3309" h="1081" extrusionOk="0">
                  <a:moveTo>
                    <a:pt x="931" y="0"/>
                  </a:moveTo>
                  <a:cubicBezTo>
                    <a:pt x="762" y="0"/>
                    <a:pt x="602" y="38"/>
                    <a:pt x="451" y="113"/>
                  </a:cubicBezTo>
                  <a:cubicBezTo>
                    <a:pt x="334" y="180"/>
                    <a:pt x="218" y="263"/>
                    <a:pt x="101" y="363"/>
                  </a:cubicBezTo>
                  <a:cubicBezTo>
                    <a:pt x="34" y="447"/>
                    <a:pt x="0" y="480"/>
                    <a:pt x="17" y="497"/>
                  </a:cubicBezTo>
                  <a:cubicBezTo>
                    <a:pt x="18" y="498"/>
                    <a:pt x="19" y="498"/>
                    <a:pt x="20" y="498"/>
                  </a:cubicBezTo>
                  <a:cubicBezTo>
                    <a:pt x="48" y="498"/>
                    <a:pt x="199" y="340"/>
                    <a:pt x="502" y="196"/>
                  </a:cubicBezTo>
                  <a:cubicBezTo>
                    <a:pt x="606" y="144"/>
                    <a:pt x="723" y="118"/>
                    <a:pt x="842" y="118"/>
                  </a:cubicBezTo>
                  <a:cubicBezTo>
                    <a:pt x="913" y="118"/>
                    <a:pt x="984" y="127"/>
                    <a:pt x="1053" y="146"/>
                  </a:cubicBezTo>
                  <a:cubicBezTo>
                    <a:pt x="1270" y="196"/>
                    <a:pt x="1404" y="414"/>
                    <a:pt x="1571" y="631"/>
                  </a:cubicBezTo>
                  <a:cubicBezTo>
                    <a:pt x="1721" y="848"/>
                    <a:pt x="1972" y="1015"/>
                    <a:pt x="2239" y="1065"/>
                  </a:cubicBezTo>
                  <a:cubicBezTo>
                    <a:pt x="2305" y="1075"/>
                    <a:pt x="2371" y="1081"/>
                    <a:pt x="2436" y="1081"/>
                  </a:cubicBezTo>
                  <a:cubicBezTo>
                    <a:pt x="2586" y="1081"/>
                    <a:pt x="2734" y="1052"/>
                    <a:pt x="2874" y="982"/>
                  </a:cubicBezTo>
                  <a:cubicBezTo>
                    <a:pt x="3225" y="831"/>
                    <a:pt x="3309" y="597"/>
                    <a:pt x="3309" y="597"/>
                  </a:cubicBezTo>
                  <a:lnTo>
                    <a:pt x="3309" y="597"/>
                  </a:lnTo>
                  <a:cubicBezTo>
                    <a:pt x="3158" y="714"/>
                    <a:pt x="3008" y="815"/>
                    <a:pt x="2841" y="898"/>
                  </a:cubicBezTo>
                  <a:cubicBezTo>
                    <a:pt x="2729" y="939"/>
                    <a:pt x="2612" y="961"/>
                    <a:pt x="2492" y="961"/>
                  </a:cubicBezTo>
                  <a:cubicBezTo>
                    <a:pt x="2414" y="961"/>
                    <a:pt x="2335" y="951"/>
                    <a:pt x="2256" y="932"/>
                  </a:cubicBezTo>
                  <a:cubicBezTo>
                    <a:pt x="2022" y="881"/>
                    <a:pt x="1822" y="748"/>
                    <a:pt x="1688" y="547"/>
                  </a:cubicBezTo>
                  <a:cubicBezTo>
                    <a:pt x="1604" y="447"/>
                    <a:pt x="1521" y="330"/>
                    <a:pt x="1437" y="230"/>
                  </a:cubicBezTo>
                  <a:cubicBezTo>
                    <a:pt x="1354" y="130"/>
                    <a:pt x="1220" y="63"/>
                    <a:pt x="1103" y="13"/>
                  </a:cubicBezTo>
                  <a:cubicBezTo>
                    <a:pt x="1045" y="4"/>
                    <a:pt x="987" y="0"/>
                    <a:pt x="93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6" name="Google Shape;2656;p53"/>
            <p:cNvSpPr/>
            <p:nvPr/>
          </p:nvSpPr>
          <p:spPr>
            <a:xfrm>
              <a:off x="5819343" y="1778847"/>
              <a:ext cx="526966" cy="752374"/>
            </a:xfrm>
            <a:custGeom>
              <a:avLst/>
              <a:gdLst/>
              <a:ahLst/>
              <a:cxnLst/>
              <a:rect l="l" t="t" r="r" b="b"/>
              <a:pathLst>
                <a:path w="16442" h="23475" extrusionOk="0">
                  <a:moveTo>
                    <a:pt x="7574" y="1"/>
                  </a:moveTo>
                  <a:cubicBezTo>
                    <a:pt x="6650" y="1"/>
                    <a:pt x="5736" y="224"/>
                    <a:pt x="4913" y="671"/>
                  </a:cubicBezTo>
                  <a:cubicBezTo>
                    <a:pt x="3918" y="1259"/>
                    <a:pt x="3181" y="2214"/>
                    <a:pt x="2973" y="3279"/>
                  </a:cubicBezTo>
                  <a:lnTo>
                    <a:pt x="2973" y="3279"/>
                  </a:lnTo>
                  <a:cubicBezTo>
                    <a:pt x="2742" y="3831"/>
                    <a:pt x="2612" y="4435"/>
                    <a:pt x="2557" y="5015"/>
                  </a:cubicBezTo>
                  <a:cubicBezTo>
                    <a:pt x="2423" y="6436"/>
                    <a:pt x="2557" y="7906"/>
                    <a:pt x="2022" y="9226"/>
                  </a:cubicBezTo>
                  <a:cubicBezTo>
                    <a:pt x="1571" y="10329"/>
                    <a:pt x="619" y="11348"/>
                    <a:pt x="719" y="12534"/>
                  </a:cubicBezTo>
                  <a:cubicBezTo>
                    <a:pt x="803" y="13420"/>
                    <a:pt x="1471" y="14205"/>
                    <a:pt x="1588" y="15091"/>
                  </a:cubicBezTo>
                  <a:cubicBezTo>
                    <a:pt x="1822" y="16812"/>
                    <a:pt x="1" y="18332"/>
                    <a:pt x="335" y="20036"/>
                  </a:cubicBezTo>
                  <a:cubicBezTo>
                    <a:pt x="485" y="20822"/>
                    <a:pt x="1087" y="21490"/>
                    <a:pt x="1788" y="21941"/>
                  </a:cubicBezTo>
                  <a:cubicBezTo>
                    <a:pt x="2540" y="22375"/>
                    <a:pt x="3326" y="22726"/>
                    <a:pt x="4161" y="22960"/>
                  </a:cubicBezTo>
                  <a:cubicBezTo>
                    <a:pt x="4932" y="23217"/>
                    <a:pt x="5769" y="23474"/>
                    <a:pt x="6567" y="23474"/>
                  </a:cubicBezTo>
                  <a:cubicBezTo>
                    <a:pt x="6911" y="23474"/>
                    <a:pt x="7248" y="23427"/>
                    <a:pt x="7570" y="23311"/>
                  </a:cubicBezTo>
                  <a:cubicBezTo>
                    <a:pt x="8539" y="22960"/>
                    <a:pt x="9190" y="22091"/>
                    <a:pt x="10193" y="21841"/>
                  </a:cubicBezTo>
                  <a:cubicBezTo>
                    <a:pt x="10419" y="21781"/>
                    <a:pt x="10648" y="21759"/>
                    <a:pt x="10880" y="21759"/>
                  </a:cubicBezTo>
                  <a:cubicBezTo>
                    <a:pt x="11627" y="21759"/>
                    <a:pt x="12402" y="21995"/>
                    <a:pt x="13167" y="22008"/>
                  </a:cubicBezTo>
                  <a:cubicBezTo>
                    <a:pt x="13209" y="22009"/>
                    <a:pt x="13251" y="22010"/>
                    <a:pt x="13293" y="22010"/>
                  </a:cubicBezTo>
                  <a:cubicBezTo>
                    <a:pt x="14166" y="22010"/>
                    <a:pt x="15001" y="21678"/>
                    <a:pt x="15623" y="21072"/>
                  </a:cubicBezTo>
                  <a:cubicBezTo>
                    <a:pt x="16241" y="20454"/>
                    <a:pt x="16442" y="19552"/>
                    <a:pt x="16141" y="18733"/>
                  </a:cubicBezTo>
                  <a:cubicBezTo>
                    <a:pt x="15690" y="17630"/>
                    <a:pt x="14320" y="16928"/>
                    <a:pt x="14103" y="15776"/>
                  </a:cubicBezTo>
                  <a:cubicBezTo>
                    <a:pt x="13919" y="14740"/>
                    <a:pt x="14771" y="13704"/>
                    <a:pt x="14504" y="12685"/>
                  </a:cubicBezTo>
                  <a:cubicBezTo>
                    <a:pt x="14203" y="11532"/>
                    <a:pt x="12666" y="10930"/>
                    <a:pt x="12298" y="9811"/>
                  </a:cubicBezTo>
                  <a:cubicBezTo>
                    <a:pt x="11847" y="8457"/>
                    <a:pt x="13267" y="7004"/>
                    <a:pt x="12716" y="5684"/>
                  </a:cubicBezTo>
                  <a:cubicBezTo>
                    <a:pt x="12398" y="4915"/>
                    <a:pt x="11463" y="4431"/>
                    <a:pt x="11212" y="3628"/>
                  </a:cubicBezTo>
                  <a:cubicBezTo>
                    <a:pt x="11028" y="3077"/>
                    <a:pt x="11212" y="2492"/>
                    <a:pt x="11095" y="1924"/>
                  </a:cubicBezTo>
                  <a:cubicBezTo>
                    <a:pt x="10878" y="972"/>
                    <a:pt x="9792" y="337"/>
                    <a:pt x="8739" y="120"/>
                  </a:cubicBezTo>
                  <a:cubicBezTo>
                    <a:pt x="8353" y="40"/>
                    <a:pt x="7963" y="1"/>
                    <a:pt x="757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7" name="Google Shape;2657;p53"/>
            <p:cNvSpPr/>
            <p:nvPr/>
          </p:nvSpPr>
          <p:spPr>
            <a:xfrm>
              <a:off x="6034623" y="1783943"/>
              <a:ext cx="282777" cy="627860"/>
            </a:xfrm>
            <a:custGeom>
              <a:avLst/>
              <a:gdLst/>
              <a:ahLst/>
              <a:cxnLst/>
              <a:rect l="l" t="t" r="r" b="b"/>
              <a:pathLst>
                <a:path w="8823" h="19590" extrusionOk="0">
                  <a:moveTo>
                    <a:pt x="1669" y="1"/>
                  </a:moveTo>
                  <a:cubicBezTo>
                    <a:pt x="1117" y="1"/>
                    <a:pt x="553" y="100"/>
                    <a:pt x="0" y="312"/>
                  </a:cubicBezTo>
                  <a:lnTo>
                    <a:pt x="2657" y="18557"/>
                  </a:lnTo>
                  <a:cubicBezTo>
                    <a:pt x="3295" y="19267"/>
                    <a:pt x="4126" y="19589"/>
                    <a:pt x="4943" y="19589"/>
                  </a:cubicBezTo>
                  <a:cubicBezTo>
                    <a:pt x="6414" y="19589"/>
                    <a:pt x="7844" y="18544"/>
                    <a:pt x="8037" y="16836"/>
                  </a:cubicBezTo>
                  <a:cubicBezTo>
                    <a:pt x="8171" y="15650"/>
                    <a:pt x="7620" y="14464"/>
                    <a:pt x="7803" y="13277"/>
                  </a:cubicBezTo>
                  <a:cubicBezTo>
                    <a:pt x="7970" y="12141"/>
                    <a:pt x="8823" y="11122"/>
                    <a:pt x="8639" y="9986"/>
                  </a:cubicBezTo>
                  <a:cubicBezTo>
                    <a:pt x="8472" y="8800"/>
                    <a:pt x="7285" y="8064"/>
                    <a:pt x="6767" y="6995"/>
                  </a:cubicBezTo>
                  <a:cubicBezTo>
                    <a:pt x="6300" y="6009"/>
                    <a:pt x="6467" y="4840"/>
                    <a:pt x="6249" y="3770"/>
                  </a:cubicBezTo>
                  <a:cubicBezTo>
                    <a:pt x="5797" y="1510"/>
                    <a:pt x="3822" y="1"/>
                    <a:pt x="166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8" name="Google Shape;2658;p53"/>
            <p:cNvSpPr/>
            <p:nvPr/>
          </p:nvSpPr>
          <p:spPr>
            <a:xfrm>
              <a:off x="6144394" y="1794231"/>
              <a:ext cx="170346" cy="160570"/>
            </a:xfrm>
            <a:custGeom>
              <a:avLst/>
              <a:gdLst/>
              <a:ahLst/>
              <a:cxnLst/>
              <a:rect l="l" t="t" r="r" b="b"/>
              <a:pathLst>
                <a:path w="5315" h="5010" extrusionOk="0">
                  <a:moveTo>
                    <a:pt x="2909" y="1"/>
                  </a:moveTo>
                  <a:cubicBezTo>
                    <a:pt x="1588" y="1"/>
                    <a:pt x="374" y="978"/>
                    <a:pt x="201" y="2397"/>
                  </a:cubicBezTo>
                  <a:lnTo>
                    <a:pt x="352" y="2079"/>
                  </a:lnTo>
                  <a:lnTo>
                    <a:pt x="352" y="2079"/>
                  </a:lnTo>
                  <a:cubicBezTo>
                    <a:pt x="1" y="2915"/>
                    <a:pt x="235" y="3900"/>
                    <a:pt x="953" y="4485"/>
                  </a:cubicBezTo>
                  <a:cubicBezTo>
                    <a:pt x="1400" y="4828"/>
                    <a:pt x="1936" y="5009"/>
                    <a:pt x="2479" y="5009"/>
                  </a:cubicBezTo>
                  <a:cubicBezTo>
                    <a:pt x="2810" y="5009"/>
                    <a:pt x="3143" y="4942"/>
                    <a:pt x="3459" y="4803"/>
                  </a:cubicBezTo>
                  <a:cubicBezTo>
                    <a:pt x="4278" y="4418"/>
                    <a:pt x="4896" y="3700"/>
                    <a:pt x="5130" y="2831"/>
                  </a:cubicBezTo>
                  <a:cubicBezTo>
                    <a:pt x="5314" y="2263"/>
                    <a:pt x="5281" y="1661"/>
                    <a:pt x="5030" y="1143"/>
                  </a:cubicBezTo>
                  <a:cubicBezTo>
                    <a:pt x="4796" y="709"/>
                    <a:pt x="4412" y="392"/>
                    <a:pt x="3944" y="208"/>
                  </a:cubicBezTo>
                  <a:cubicBezTo>
                    <a:pt x="3603" y="67"/>
                    <a:pt x="3252" y="1"/>
                    <a:pt x="290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9" name="Google Shape;2659;p53"/>
            <p:cNvSpPr/>
            <p:nvPr/>
          </p:nvSpPr>
          <p:spPr>
            <a:xfrm>
              <a:off x="6120293" y="1826057"/>
              <a:ext cx="97496" cy="124482"/>
            </a:xfrm>
            <a:custGeom>
              <a:avLst/>
              <a:gdLst/>
              <a:ahLst/>
              <a:cxnLst/>
              <a:rect l="l" t="t" r="r" b="b"/>
              <a:pathLst>
                <a:path w="3042" h="3884" extrusionOk="0">
                  <a:moveTo>
                    <a:pt x="1287" y="0"/>
                  </a:moveTo>
                  <a:cubicBezTo>
                    <a:pt x="1221" y="17"/>
                    <a:pt x="1137" y="67"/>
                    <a:pt x="1070" y="117"/>
                  </a:cubicBezTo>
                  <a:cubicBezTo>
                    <a:pt x="886" y="251"/>
                    <a:pt x="719" y="401"/>
                    <a:pt x="569" y="585"/>
                  </a:cubicBezTo>
                  <a:cubicBezTo>
                    <a:pt x="352" y="852"/>
                    <a:pt x="185" y="1170"/>
                    <a:pt x="101" y="1504"/>
                  </a:cubicBezTo>
                  <a:cubicBezTo>
                    <a:pt x="1" y="1922"/>
                    <a:pt x="34" y="2373"/>
                    <a:pt x="218" y="2757"/>
                  </a:cubicBezTo>
                  <a:cubicBezTo>
                    <a:pt x="385" y="3158"/>
                    <a:pt x="703" y="3475"/>
                    <a:pt x="1104" y="3659"/>
                  </a:cubicBezTo>
                  <a:cubicBezTo>
                    <a:pt x="1421" y="3793"/>
                    <a:pt x="1755" y="3860"/>
                    <a:pt x="2106" y="3876"/>
                  </a:cubicBezTo>
                  <a:cubicBezTo>
                    <a:pt x="2175" y="3881"/>
                    <a:pt x="2243" y="3883"/>
                    <a:pt x="2311" y="3883"/>
                  </a:cubicBezTo>
                  <a:cubicBezTo>
                    <a:pt x="2476" y="3883"/>
                    <a:pt x="2638" y="3872"/>
                    <a:pt x="2791" y="3860"/>
                  </a:cubicBezTo>
                  <a:cubicBezTo>
                    <a:pt x="2875" y="3860"/>
                    <a:pt x="2958" y="3860"/>
                    <a:pt x="3042" y="3826"/>
                  </a:cubicBezTo>
                  <a:cubicBezTo>
                    <a:pt x="3042" y="3810"/>
                    <a:pt x="2691" y="3826"/>
                    <a:pt x="2123" y="3776"/>
                  </a:cubicBezTo>
                  <a:cubicBezTo>
                    <a:pt x="1789" y="3760"/>
                    <a:pt x="1455" y="3676"/>
                    <a:pt x="1154" y="3542"/>
                  </a:cubicBezTo>
                  <a:cubicBezTo>
                    <a:pt x="786" y="3375"/>
                    <a:pt x="502" y="3074"/>
                    <a:pt x="335" y="2707"/>
                  </a:cubicBezTo>
                  <a:cubicBezTo>
                    <a:pt x="185" y="2339"/>
                    <a:pt x="151" y="1922"/>
                    <a:pt x="235" y="1537"/>
                  </a:cubicBezTo>
                  <a:cubicBezTo>
                    <a:pt x="302" y="1220"/>
                    <a:pt x="452" y="902"/>
                    <a:pt x="652" y="652"/>
                  </a:cubicBezTo>
                  <a:cubicBezTo>
                    <a:pt x="836" y="401"/>
                    <a:pt x="1054" y="184"/>
                    <a:pt x="12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0" name="Google Shape;2660;p53"/>
            <p:cNvSpPr/>
            <p:nvPr/>
          </p:nvSpPr>
          <p:spPr>
            <a:xfrm>
              <a:off x="6102088" y="1902079"/>
              <a:ext cx="165506" cy="304731"/>
            </a:xfrm>
            <a:custGeom>
              <a:avLst/>
              <a:gdLst/>
              <a:ahLst/>
              <a:cxnLst/>
              <a:rect l="l" t="t" r="r" b="b"/>
              <a:pathLst>
                <a:path w="5164" h="9508" extrusionOk="0">
                  <a:moveTo>
                    <a:pt x="619" y="1"/>
                  </a:moveTo>
                  <a:lnTo>
                    <a:pt x="619" y="1"/>
                  </a:lnTo>
                  <a:cubicBezTo>
                    <a:pt x="469" y="218"/>
                    <a:pt x="368" y="452"/>
                    <a:pt x="285" y="702"/>
                  </a:cubicBezTo>
                  <a:cubicBezTo>
                    <a:pt x="51" y="1371"/>
                    <a:pt x="1" y="2106"/>
                    <a:pt x="151" y="2808"/>
                  </a:cubicBezTo>
                  <a:cubicBezTo>
                    <a:pt x="251" y="3292"/>
                    <a:pt x="452" y="3760"/>
                    <a:pt x="736" y="4178"/>
                  </a:cubicBezTo>
                  <a:cubicBezTo>
                    <a:pt x="1037" y="4629"/>
                    <a:pt x="1454" y="5013"/>
                    <a:pt x="1805" y="5498"/>
                  </a:cubicBezTo>
                  <a:cubicBezTo>
                    <a:pt x="1989" y="5748"/>
                    <a:pt x="2123" y="6016"/>
                    <a:pt x="2190" y="6317"/>
                  </a:cubicBezTo>
                  <a:cubicBezTo>
                    <a:pt x="2256" y="6617"/>
                    <a:pt x="2273" y="6935"/>
                    <a:pt x="2223" y="7252"/>
                  </a:cubicBezTo>
                  <a:cubicBezTo>
                    <a:pt x="2089" y="7921"/>
                    <a:pt x="1839" y="8555"/>
                    <a:pt x="1505" y="9140"/>
                  </a:cubicBezTo>
                  <a:lnTo>
                    <a:pt x="1471" y="9224"/>
                  </a:lnTo>
                  <a:lnTo>
                    <a:pt x="1555" y="9241"/>
                  </a:lnTo>
                  <a:cubicBezTo>
                    <a:pt x="1661" y="9264"/>
                    <a:pt x="1768" y="9276"/>
                    <a:pt x="1874" y="9276"/>
                  </a:cubicBezTo>
                  <a:cubicBezTo>
                    <a:pt x="2219" y="9276"/>
                    <a:pt x="2556" y="9153"/>
                    <a:pt x="2825" y="8923"/>
                  </a:cubicBezTo>
                  <a:cubicBezTo>
                    <a:pt x="2912" y="8844"/>
                    <a:pt x="2995" y="8756"/>
                    <a:pt x="3067" y="8659"/>
                  </a:cubicBezTo>
                  <a:lnTo>
                    <a:pt x="3067" y="8659"/>
                  </a:lnTo>
                  <a:cubicBezTo>
                    <a:pt x="3049" y="8918"/>
                    <a:pt x="3037" y="9176"/>
                    <a:pt x="3025" y="9424"/>
                  </a:cubicBezTo>
                  <a:lnTo>
                    <a:pt x="3025" y="9508"/>
                  </a:lnTo>
                  <a:lnTo>
                    <a:pt x="3109" y="9491"/>
                  </a:lnTo>
                  <a:cubicBezTo>
                    <a:pt x="3777" y="9357"/>
                    <a:pt x="4362" y="8956"/>
                    <a:pt x="4729" y="8372"/>
                  </a:cubicBezTo>
                  <a:cubicBezTo>
                    <a:pt x="5063" y="7837"/>
                    <a:pt x="5164" y="7185"/>
                    <a:pt x="5030" y="6584"/>
                  </a:cubicBezTo>
                  <a:cubicBezTo>
                    <a:pt x="4913" y="6032"/>
                    <a:pt x="4713" y="5531"/>
                    <a:pt x="4462" y="5047"/>
                  </a:cubicBezTo>
                  <a:cubicBezTo>
                    <a:pt x="4228" y="4579"/>
                    <a:pt x="3994" y="4178"/>
                    <a:pt x="3844" y="3777"/>
                  </a:cubicBezTo>
                  <a:cubicBezTo>
                    <a:pt x="3710" y="3426"/>
                    <a:pt x="3610" y="3058"/>
                    <a:pt x="3576" y="2674"/>
                  </a:cubicBezTo>
                  <a:cubicBezTo>
                    <a:pt x="3543" y="2390"/>
                    <a:pt x="3560" y="2106"/>
                    <a:pt x="3627" y="1822"/>
                  </a:cubicBezTo>
                  <a:cubicBezTo>
                    <a:pt x="3677" y="1588"/>
                    <a:pt x="3794" y="1371"/>
                    <a:pt x="3927" y="1170"/>
                  </a:cubicBezTo>
                  <a:lnTo>
                    <a:pt x="3927" y="1170"/>
                  </a:lnTo>
                  <a:cubicBezTo>
                    <a:pt x="3877" y="1220"/>
                    <a:pt x="3844" y="1254"/>
                    <a:pt x="3810" y="1321"/>
                  </a:cubicBezTo>
                  <a:cubicBezTo>
                    <a:pt x="3693" y="1471"/>
                    <a:pt x="3627" y="1638"/>
                    <a:pt x="3576" y="1805"/>
                  </a:cubicBezTo>
                  <a:cubicBezTo>
                    <a:pt x="3493" y="2089"/>
                    <a:pt x="3476" y="2390"/>
                    <a:pt x="3493" y="2674"/>
                  </a:cubicBezTo>
                  <a:cubicBezTo>
                    <a:pt x="3526" y="3058"/>
                    <a:pt x="3627" y="3443"/>
                    <a:pt x="3760" y="3810"/>
                  </a:cubicBezTo>
                  <a:cubicBezTo>
                    <a:pt x="3944" y="4245"/>
                    <a:pt x="4144" y="4679"/>
                    <a:pt x="4362" y="5097"/>
                  </a:cubicBezTo>
                  <a:cubicBezTo>
                    <a:pt x="4612" y="5565"/>
                    <a:pt x="4796" y="6066"/>
                    <a:pt x="4913" y="6601"/>
                  </a:cubicBezTo>
                  <a:cubicBezTo>
                    <a:pt x="5030" y="7185"/>
                    <a:pt x="4930" y="7787"/>
                    <a:pt x="4612" y="8305"/>
                  </a:cubicBezTo>
                  <a:cubicBezTo>
                    <a:pt x="4294" y="8814"/>
                    <a:pt x="3765" y="9186"/>
                    <a:pt x="3167" y="9336"/>
                  </a:cubicBezTo>
                  <a:lnTo>
                    <a:pt x="3167" y="9336"/>
                  </a:lnTo>
                  <a:cubicBezTo>
                    <a:pt x="3194" y="9032"/>
                    <a:pt x="3210" y="8703"/>
                    <a:pt x="3225" y="8374"/>
                  </a:cubicBezTo>
                  <a:lnTo>
                    <a:pt x="3225" y="8374"/>
                  </a:lnTo>
                  <a:cubicBezTo>
                    <a:pt x="3225" y="8373"/>
                    <a:pt x="3225" y="8372"/>
                    <a:pt x="3226" y="8372"/>
                  </a:cubicBezTo>
                  <a:lnTo>
                    <a:pt x="3225" y="8371"/>
                  </a:lnTo>
                  <a:lnTo>
                    <a:pt x="3225" y="8371"/>
                  </a:lnTo>
                  <a:cubicBezTo>
                    <a:pt x="3225" y="8366"/>
                    <a:pt x="3225" y="8360"/>
                    <a:pt x="3226" y="8355"/>
                  </a:cubicBezTo>
                  <a:lnTo>
                    <a:pt x="3259" y="7921"/>
                  </a:lnTo>
                  <a:lnTo>
                    <a:pt x="3092" y="8322"/>
                  </a:lnTo>
                  <a:cubicBezTo>
                    <a:pt x="3008" y="8505"/>
                    <a:pt x="2891" y="8672"/>
                    <a:pt x="2724" y="8806"/>
                  </a:cubicBezTo>
                  <a:cubicBezTo>
                    <a:pt x="2488" y="9016"/>
                    <a:pt x="2179" y="9133"/>
                    <a:pt x="1855" y="9133"/>
                  </a:cubicBezTo>
                  <a:cubicBezTo>
                    <a:pt x="1799" y="9133"/>
                    <a:pt x="1742" y="9130"/>
                    <a:pt x="1684" y="9123"/>
                  </a:cubicBezTo>
                  <a:lnTo>
                    <a:pt x="1684" y="9123"/>
                  </a:lnTo>
                  <a:cubicBezTo>
                    <a:pt x="1996" y="8545"/>
                    <a:pt x="2229" y="7922"/>
                    <a:pt x="2357" y="7269"/>
                  </a:cubicBezTo>
                  <a:cubicBezTo>
                    <a:pt x="2407" y="6935"/>
                    <a:pt x="2390" y="6601"/>
                    <a:pt x="2323" y="6283"/>
                  </a:cubicBezTo>
                  <a:cubicBezTo>
                    <a:pt x="2240" y="5966"/>
                    <a:pt x="2106" y="5682"/>
                    <a:pt x="1906" y="5431"/>
                  </a:cubicBezTo>
                  <a:cubicBezTo>
                    <a:pt x="1555" y="4930"/>
                    <a:pt x="1120" y="4545"/>
                    <a:pt x="819" y="4111"/>
                  </a:cubicBezTo>
                  <a:cubicBezTo>
                    <a:pt x="552" y="3710"/>
                    <a:pt x="352" y="3259"/>
                    <a:pt x="251" y="2791"/>
                  </a:cubicBezTo>
                  <a:cubicBezTo>
                    <a:pt x="101" y="2106"/>
                    <a:pt x="118" y="1388"/>
                    <a:pt x="335" y="719"/>
                  </a:cubicBezTo>
                  <a:cubicBezTo>
                    <a:pt x="418" y="469"/>
                    <a:pt x="519" y="235"/>
                    <a:pt x="619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1" name="Google Shape;2661;p53"/>
            <p:cNvSpPr/>
            <p:nvPr/>
          </p:nvSpPr>
          <p:spPr>
            <a:xfrm>
              <a:off x="6175996" y="1799808"/>
              <a:ext cx="89452" cy="141949"/>
            </a:xfrm>
            <a:custGeom>
              <a:avLst/>
              <a:gdLst/>
              <a:ahLst/>
              <a:cxnLst/>
              <a:rect l="l" t="t" r="r" b="b"/>
              <a:pathLst>
                <a:path w="2791" h="4429" extrusionOk="0">
                  <a:moveTo>
                    <a:pt x="2574" y="0"/>
                  </a:moveTo>
                  <a:cubicBezTo>
                    <a:pt x="2557" y="0"/>
                    <a:pt x="2641" y="318"/>
                    <a:pt x="2641" y="819"/>
                  </a:cubicBezTo>
                  <a:cubicBezTo>
                    <a:pt x="2641" y="2172"/>
                    <a:pt x="1905" y="3409"/>
                    <a:pt x="736" y="4061"/>
                  </a:cubicBezTo>
                  <a:cubicBezTo>
                    <a:pt x="301" y="4328"/>
                    <a:pt x="1" y="4395"/>
                    <a:pt x="1" y="4428"/>
                  </a:cubicBezTo>
                  <a:cubicBezTo>
                    <a:pt x="84" y="4428"/>
                    <a:pt x="151" y="4411"/>
                    <a:pt x="218" y="4378"/>
                  </a:cubicBezTo>
                  <a:cubicBezTo>
                    <a:pt x="418" y="4328"/>
                    <a:pt x="602" y="4244"/>
                    <a:pt x="786" y="4161"/>
                  </a:cubicBezTo>
                  <a:cubicBezTo>
                    <a:pt x="2039" y="3526"/>
                    <a:pt x="2791" y="2223"/>
                    <a:pt x="2741" y="819"/>
                  </a:cubicBezTo>
                  <a:cubicBezTo>
                    <a:pt x="2724" y="619"/>
                    <a:pt x="2691" y="418"/>
                    <a:pt x="2657" y="218"/>
                  </a:cubicBezTo>
                  <a:cubicBezTo>
                    <a:pt x="2641" y="134"/>
                    <a:pt x="2607" y="67"/>
                    <a:pt x="257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2" name="Google Shape;2662;p53"/>
            <p:cNvSpPr/>
            <p:nvPr/>
          </p:nvSpPr>
          <p:spPr>
            <a:xfrm>
              <a:off x="6148144" y="1838364"/>
              <a:ext cx="85734" cy="73074"/>
            </a:xfrm>
            <a:custGeom>
              <a:avLst/>
              <a:gdLst/>
              <a:ahLst/>
              <a:cxnLst/>
              <a:rect l="l" t="t" r="r" b="b"/>
              <a:pathLst>
                <a:path w="2675" h="2280" extrusionOk="0">
                  <a:moveTo>
                    <a:pt x="17" y="0"/>
                  </a:moveTo>
                  <a:cubicBezTo>
                    <a:pt x="1" y="201"/>
                    <a:pt x="17" y="385"/>
                    <a:pt x="84" y="568"/>
                  </a:cubicBezTo>
                  <a:cubicBezTo>
                    <a:pt x="385" y="1471"/>
                    <a:pt x="1170" y="2139"/>
                    <a:pt x="2106" y="2256"/>
                  </a:cubicBezTo>
                  <a:cubicBezTo>
                    <a:pt x="2196" y="2271"/>
                    <a:pt x="2283" y="2279"/>
                    <a:pt x="2368" y="2279"/>
                  </a:cubicBezTo>
                  <a:cubicBezTo>
                    <a:pt x="2472" y="2279"/>
                    <a:pt x="2573" y="2267"/>
                    <a:pt x="2674" y="2239"/>
                  </a:cubicBezTo>
                  <a:cubicBezTo>
                    <a:pt x="2674" y="2206"/>
                    <a:pt x="2457" y="2223"/>
                    <a:pt x="2123" y="2156"/>
                  </a:cubicBezTo>
                  <a:cubicBezTo>
                    <a:pt x="1237" y="1989"/>
                    <a:pt x="502" y="1370"/>
                    <a:pt x="185" y="535"/>
                  </a:cubicBezTo>
                  <a:cubicBezTo>
                    <a:pt x="68" y="218"/>
                    <a:pt x="34" y="0"/>
                    <a:pt x="1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3" name="Google Shape;2663;p53"/>
            <p:cNvSpPr/>
            <p:nvPr/>
          </p:nvSpPr>
          <p:spPr>
            <a:xfrm>
              <a:off x="6015874" y="1785353"/>
              <a:ext cx="114643" cy="740643"/>
            </a:xfrm>
            <a:custGeom>
              <a:avLst/>
              <a:gdLst/>
              <a:ahLst/>
              <a:cxnLst/>
              <a:rect l="l" t="t" r="r" b="b"/>
              <a:pathLst>
                <a:path w="3577" h="23109" extrusionOk="0">
                  <a:moveTo>
                    <a:pt x="301" y="0"/>
                  </a:moveTo>
                  <a:cubicBezTo>
                    <a:pt x="585" y="184"/>
                    <a:pt x="853" y="401"/>
                    <a:pt x="1103" y="635"/>
                  </a:cubicBezTo>
                  <a:cubicBezTo>
                    <a:pt x="2190" y="1805"/>
                    <a:pt x="2657" y="3409"/>
                    <a:pt x="2390" y="4979"/>
                  </a:cubicBezTo>
                  <a:cubicBezTo>
                    <a:pt x="2240" y="5698"/>
                    <a:pt x="1989" y="6383"/>
                    <a:pt x="1638" y="7035"/>
                  </a:cubicBezTo>
                  <a:cubicBezTo>
                    <a:pt x="1304" y="7736"/>
                    <a:pt x="886" y="8455"/>
                    <a:pt x="552" y="9240"/>
                  </a:cubicBezTo>
                  <a:cubicBezTo>
                    <a:pt x="184" y="10059"/>
                    <a:pt x="1" y="10944"/>
                    <a:pt x="34" y="11830"/>
                  </a:cubicBezTo>
                  <a:cubicBezTo>
                    <a:pt x="68" y="12281"/>
                    <a:pt x="168" y="12732"/>
                    <a:pt x="368" y="13150"/>
                  </a:cubicBezTo>
                  <a:cubicBezTo>
                    <a:pt x="552" y="13534"/>
                    <a:pt x="769" y="13918"/>
                    <a:pt x="1037" y="14269"/>
                  </a:cubicBezTo>
                  <a:cubicBezTo>
                    <a:pt x="1538" y="14954"/>
                    <a:pt x="2073" y="15573"/>
                    <a:pt x="2440" y="16258"/>
                  </a:cubicBezTo>
                  <a:cubicBezTo>
                    <a:pt x="3209" y="17611"/>
                    <a:pt x="3459" y="19048"/>
                    <a:pt x="3242" y="20201"/>
                  </a:cubicBezTo>
                  <a:cubicBezTo>
                    <a:pt x="3092" y="21120"/>
                    <a:pt x="2641" y="21972"/>
                    <a:pt x="1939" y="22590"/>
                  </a:cubicBezTo>
                  <a:cubicBezTo>
                    <a:pt x="1688" y="22807"/>
                    <a:pt x="1388" y="22974"/>
                    <a:pt x="1070" y="23108"/>
                  </a:cubicBezTo>
                  <a:cubicBezTo>
                    <a:pt x="1087" y="23108"/>
                    <a:pt x="1120" y="23091"/>
                    <a:pt x="1137" y="23091"/>
                  </a:cubicBezTo>
                  <a:cubicBezTo>
                    <a:pt x="1187" y="23075"/>
                    <a:pt x="1237" y="23058"/>
                    <a:pt x="1321" y="23025"/>
                  </a:cubicBezTo>
                  <a:cubicBezTo>
                    <a:pt x="1555" y="22924"/>
                    <a:pt x="1789" y="22791"/>
                    <a:pt x="1989" y="22640"/>
                  </a:cubicBezTo>
                  <a:cubicBezTo>
                    <a:pt x="2707" y="22022"/>
                    <a:pt x="3192" y="21153"/>
                    <a:pt x="3342" y="20218"/>
                  </a:cubicBezTo>
                  <a:cubicBezTo>
                    <a:pt x="3576" y="19048"/>
                    <a:pt x="3326" y="17561"/>
                    <a:pt x="2557" y="16191"/>
                  </a:cubicBezTo>
                  <a:cubicBezTo>
                    <a:pt x="2190" y="15489"/>
                    <a:pt x="1638" y="14871"/>
                    <a:pt x="1154" y="14186"/>
                  </a:cubicBezTo>
                  <a:cubicBezTo>
                    <a:pt x="652" y="13501"/>
                    <a:pt x="218" y="12715"/>
                    <a:pt x="168" y="11813"/>
                  </a:cubicBezTo>
                  <a:cubicBezTo>
                    <a:pt x="151" y="10944"/>
                    <a:pt x="318" y="10092"/>
                    <a:pt x="686" y="9290"/>
                  </a:cubicBezTo>
                  <a:cubicBezTo>
                    <a:pt x="1003" y="8522"/>
                    <a:pt x="1421" y="7803"/>
                    <a:pt x="1755" y="7101"/>
                  </a:cubicBezTo>
                  <a:cubicBezTo>
                    <a:pt x="2106" y="6433"/>
                    <a:pt x="2357" y="5731"/>
                    <a:pt x="2507" y="4996"/>
                  </a:cubicBezTo>
                  <a:cubicBezTo>
                    <a:pt x="2607" y="4344"/>
                    <a:pt x="2591" y="3693"/>
                    <a:pt x="2457" y="3058"/>
                  </a:cubicBezTo>
                  <a:cubicBezTo>
                    <a:pt x="2256" y="2122"/>
                    <a:pt x="1805" y="1287"/>
                    <a:pt x="1137" y="602"/>
                  </a:cubicBezTo>
                  <a:cubicBezTo>
                    <a:pt x="953" y="418"/>
                    <a:pt x="753" y="268"/>
                    <a:pt x="535" y="134"/>
                  </a:cubicBezTo>
                  <a:lnTo>
                    <a:pt x="368" y="34"/>
                  </a:lnTo>
                  <a:cubicBezTo>
                    <a:pt x="352" y="17"/>
                    <a:pt x="335" y="0"/>
                    <a:pt x="301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4" name="Google Shape;2664;p53"/>
            <p:cNvSpPr/>
            <p:nvPr/>
          </p:nvSpPr>
          <p:spPr>
            <a:xfrm>
              <a:off x="5917897" y="1886022"/>
              <a:ext cx="136020" cy="636225"/>
            </a:xfrm>
            <a:custGeom>
              <a:avLst/>
              <a:gdLst/>
              <a:ahLst/>
              <a:cxnLst/>
              <a:rect l="l" t="t" r="r" b="b"/>
              <a:pathLst>
                <a:path w="4244" h="19851" extrusionOk="0">
                  <a:moveTo>
                    <a:pt x="17" y="0"/>
                  </a:moveTo>
                  <a:lnTo>
                    <a:pt x="17" y="0"/>
                  </a:lnTo>
                  <a:cubicBezTo>
                    <a:pt x="0" y="84"/>
                    <a:pt x="17" y="168"/>
                    <a:pt x="33" y="251"/>
                  </a:cubicBezTo>
                  <a:cubicBezTo>
                    <a:pt x="100" y="468"/>
                    <a:pt x="217" y="669"/>
                    <a:pt x="368" y="836"/>
                  </a:cubicBezTo>
                  <a:cubicBezTo>
                    <a:pt x="635" y="1087"/>
                    <a:pt x="919" y="1320"/>
                    <a:pt x="1203" y="1521"/>
                  </a:cubicBezTo>
                  <a:cubicBezTo>
                    <a:pt x="1387" y="1655"/>
                    <a:pt x="1554" y="1805"/>
                    <a:pt x="1704" y="1972"/>
                  </a:cubicBezTo>
                  <a:cubicBezTo>
                    <a:pt x="1855" y="2173"/>
                    <a:pt x="1988" y="2373"/>
                    <a:pt x="2072" y="2607"/>
                  </a:cubicBezTo>
                  <a:cubicBezTo>
                    <a:pt x="2272" y="3142"/>
                    <a:pt x="2323" y="3726"/>
                    <a:pt x="2239" y="4295"/>
                  </a:cubicBezTo>
                  <a:cubicBezTo>
                    <a:pt x="2122" y="4929"/>
                    <a:pt x="1922" y="5564"/>
                    <a:pt x="1671" y="6166"/>
                  </a:cubicBezTo>
                  <a:cubicBezTo>
                    <a:pt x="1370" y="6851"/>
                    <a:pt x="1153" y="7553"/>
                    <a:pt x="1019" y="8288"/>
                  </a:cubicBezTo>
                  <a:cubicBezTo>
                    <a:pt x="952" y="8672"/>
                    <a:pt x="952" y="9073"/>
                    <a:pt x="1019" y="9457"/>
                  </a:cubicBezTo>
                  <a:cubicBezTo>
                    <a:pt x="1103" y="9875"/>
                    <a:pt x="1253" y="10259"/>
                    <a:pt x="1487" y="10594"/>
                  </a:cubicBezTo>
                  <a:cubicBezTo>
                    <a:pt x="1955" y="11279"/>
                    <a:pt x="2573" y="11780"/>
                    <a:pt x="3091" y="12331"/>
                  </a:cubicBezTo>
                  <a:cubicBezTo>
                    <a:pt x="3609" y="12833"/>
                    <a:pt x="3943" y="13501"/>
                    <a:pt x="4060" y="14203"/>
                  </a:cubicBezTo>
                  <a:cubicBezTo>
                    <a:pt x="4110" y="14537"/>
                    <a:pt x="4060" y="14871"/>
                    <a:pt x="3910" y="15172"/>
                  </a:cubicBezTo>
                  <a:cubicBezTo>
                    <a:pt x="3743" y="15439"/>
                    <a:pt x="3526" y="15656"/>
                    <a:pt x="3241" y="15807"/>
                  </a:cubicBezTo>
                  <a:cubicBezTo>
                    <a:pt x="2724" y="16124"/>
                    <a:pt x="2155" y="16325"/>
                    <a:pt x="1754" y="16709"/>
                  </a:cubicBezTo>
                  <a:cubicBezTo>
                    <a:pt x="1420" y="17060"/>
                    <a:pt x="1203" y="17511"/>
                    <a:pt x="1153" y="18012"/>
                  </a:cubicBezTo>
                  <a:cubicBezTo>
                    <a:pt x="1119" y="18380"/>
                    <a:pt x="1153" y="18747"/>
                    <a:pt x="1287" y="19082"/>
                  </a:cubicBezTo>
                  <a:cubicBezTo>
                    <a:pt x="1370" y="19299"/>
                    <a:pt x="1487" y="19499"/>
                    <a:pt x="1621" y="19683"/>
                  </a:cubicBezTo>
                  <a:cubicBezTo>
                    <a:pt x="1688" y="19733"/>
                    <a:pt x="1721" y="19783"/>
                    <a:pt x="1754" y="19800"/>
                  </a:cubicBezTo>
                  <a:cubicBezTo>
                    <a:pt x="1788" y="19833"/>
                    <a:pt x="1805" y="19850"/>
                    <a:pt x="1805" y="19850"/>
                  </a:cubicBezTo>
                  <a:cubicBezTo>
                    <a:pt x="1587" y="19616"/>
                    <a:pt x="1437" y="19349"/>
                    <a:pt x="1337" y="19065"/>
                  </a:cubicBezTo>
                  <a:cubicBezTo>
                    <a:pt x="1220" y="18731"/>
                    <a:pt x="1186" y="18363"/>
                    <a:pt x="1236" y="18012"/>
                  </a:cubicBezTo>
                  <a:cubicBezTo>
                    <a:pt x="1287" y="17544"/>
                    <a:pt x="1504" y="17110"/>
                    <a:pt x="1838" y="16776"/>
                  </a:cubicBezTo>
                  <a:cubicBezTo>
                    <a:pt x="2206" y="16408"/>
                    <a:pt x="2774" y="16224"/>
                    <a:pt x="3308" y="15907"/>
                  </a:cubicBezTo>
                  <a:cubicBezTo>
                    <a:pt x="3609" y="15757"/>
                    <a:pt x="3843" y="15506"/>
                    <a:pt x="4010" y="15222"/>
                  </a:cubicBezTo>
                  <a:cubicBezTo>
                    <a:pt x="4177" y="14904"/>
                    <a:pt x="4244" y="14554"/>
                    <a:pt x="4194" y="14203"/>
                  </a:cubicBezTo>
                  <a:cubicBezTo>
                    <a:pt x="4077" y="13451"/>
                    <a:pt x="3726" y="12766"/>
                    <a:pt x="3191" y="12231"/>
                  </a:cubicBezTo>
                  <a:cubicBezTo>
                    <a:pt x="2673" y="11680"/>
                    <a:pt x="2055" y="11178"/>
                    <a:pt x="1604" y="10510"/>
                  </a:cubicBezTo>
                  <a:cubicBezTo>
                    <a:pt x="1387" y="10193"/>
                    <a:pt x="1236" y="9825"/>
                    <a:pt x="1170" y="9441"/>
                  </a:cubicBezTo>
                  <a:cubicBezTo>
                    <a:pt x="1103" y="9056"/>
                    <a:pt x="1103" y="8672"/>
                    <a:pt x="1170" y="8305"/>
                  </a:cubicBezTo>
                  <a:cubicBezTo>
                    <a:pt x="1287" y="7586"/>
                    <a:pt x="1504" y="6884"/>
                    <a:pt x="1788" y="6216"/>
                  </a:cubicBezTo>
                  <a:cubicBezTo>
                    <a:pt x="2055" y="5598"/>
                    <a:pt x="2239" y="4963"/>
                    <a:pt x="2356" y="4295"/>
                  </a:cubicBezTo>
                  <a:cubicBezTo>
                    <a:pt x="2439" y="3726"/>
                    <a:pt x="2373" y="3125"/>
                    <a:pt x="2172" y="2574"/>
                  </a:cubicBezTo>
                  <a:cubicBezTo>
                    <a:pt x="2072" y="2340"/>
                    <a:pt x="1938" y="2106"/>
                    <a:pt x="1771" y="1922"/>
                  </a:cubicBezTo>
                  <a:cubicBezTo>
                    <a:pt x="1604" y="1755"/>
                    <a:pt x="1437" y="1604"/>
                    <a:pt x="1253" y="1471"/>
                  </a:cubicBezTo>
                  <a:cubicBezTo>
                    <a:pt x="969" y="1270"/>
                    <a:pt x="685" y="1036"/>
                    <a:pt x="418" y="802"/>
                  </a:cubicBezTo>
                  <a:cubicBezTo>
                    <a:pt x="251" y="635"/>
                    <a:pt x="134" y="452"/>
                    <a:pt x="67" y="234"/>
                  </a:cubicBezTo>
                  <a:cubicBezTo>
                    <a:pt x="17" y="84"/>
                    <a:pt x="17" y="1"/>
                    <a:pt x="1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5" name="Google Shape;2665;p53"/>
            <p:cNvSpPr/>
            <p:nvPr/>
          </p:nvSpPr>
          <p:spPr>
            <a:xfrm>
              <a:off x="6109043" y="2047202"/>
              <a:ext cx="123745" cy="413445"/>
            </a:xfrm>
            <a:custGeom>
              <a:avLst/>
              <a:gdLst/>
              <a:ahLst/>
              <a:cxnLst/>
              <a:rect l="l" t="t" r="r" b="b"/>
              <a:pathLst>
                <a:path w="3861" h="12900" extrusionOk="0">
                  <a:moveTo>
                    <a:pt x="803" y="1"/>
                  </a:moveTo>
                  <a:lnTo>
                    <a:pt x="803" y="1"/>
                  </a:lnTo>
                  <a:cubicBezTo>
                    <a:pt x="770" y="34"/>
                    <a:pt x="753" y="84"/>
                    <a:pt x="736" y="134"/>
                  </a:cubicBezTo>
                  <a:cubicBezTo>
                    <a:pt x="703" y="218"/>
                    <a:pt x="653" y="352"/>
                    <a:pt x="602" y="519"/>
                  </a:cubicBezTo>
                  <a:cubicBezTo>
                    <a:pt x="419" y="1003"/>
                    <a:pt x="285" y="1504"/>
                    <a:pt x="185" y="2006"/>
                  </a:cubicBezTo>
                  <a:cubicBezTo>
                    <a:pt x="1" y="2758"/>
                    <a:pt x="51" y="3543"/>
                    <a:pt x="285" y="4278"/>
                  </a:cubicBezTo>
                  <a:cubicBezTo>
                    <a:pt x="452" y="4696"/>
                    <a:pt x="703" y="5097"/>
                    <a:pt x="987" y="5431"/>
                  </a:cubicBezTo>
                  <a:cubicBezTo>
                    <a:pt x="1304" y="5799"/>
                    <a:pt x="1655" y="6149"/>
                    <a:pt x="2006" y="6467"/>
                  </a:cubicBezTo>
                  <a:cubicBezTo>
                    <a:pt x="2357" y="6784"/>
                    <a:pt x="2691" y="7135"/>
                    <a:pt x="3009" y="7486"/>
                  </a:cubicBezTo>
                  <a:cubicBezTo>
                    <a:pt x="3293" y="7820"/>
                    <a:pt x="3510" y="8205"/>
                    <a:pt x="3643" y="8622"/>
                  </a:cubicBezTo>
                  <a:cubicBezTo>
                    <a:pt x="3694" y="8823"/>
                    <a:pt x="3727" y="9023"/>
                    <a:pt x="3744" y="9224"/>
                  </a:cubicBezTo>
                  <a:cubicBezTo>
                    <a:pt x="3744" y="9424"/>
                    <a:pt x="3727" y="9608"/>
                    <a:pt x="3694" y="9809"/>
                  </a:cubicBezTo>
                  <a:cubicBezTo>
                    <a:pt x="3643" y="10176"/>
                    <a:pt x="3560" y="10527"/>
                    <a:pt x="3510" y="10845"/>
                  </a:cubicBezTo>
                  <a:cubicBezTo>
                    <a:pt x="3443" y="11129"/>
                    <a:pt x="3393" y="11413"/>
                    <a:pt x="3359" y="11713"/>
                  </a:cubicBezTo>
                  <a:cubicBezTo>
                    <a:pt x="3343" y="11931"/>
                    <a:pt x="3359" y="12148"/>
                    <a:pt x="3410" y="12365"/>
                  </a:cubicBezTo>
                  <a:cubicBezTo>
                    <a:pt x="3426" y="12515"/>
                    <a:pt x="3476" y="12649"/>
                    <a:pt x="3543" y="12766"/>
                  </a:cubicBezTo>
                  <a:cubicBezTo>
                    <a:pt x="3560" y="12816"/>
                    <a:pt x="3577" y="12850"/>
                    <a:pt x="3610" y="12900"/>
                  </a:cubicBezTo>
                  <a:cubicBezTo>
                    <a:pt x="3543" y="12716"/>
                    <a:pt x="3493" y="12549"/>
                    <a:pt x="3460" y="12365"/>
                  </a:cubicBezTo>
                  <a:cubicBezTo>
                    <a:pt x="3426" y="12148"/>
                    <a:pt x="3426" y="11931"/>
                    <a:pt x="3443" y="11713"/>
                  </a:cubicBezTo>
                  <a:cubicBezTo>
                    <a:pt x="3476" y="11429"/>
                    <a:pt x="3526" y="11145"/>
                    <a:pt x="3593" y="10861"/>
                  </a:cubicBezTo>
                  <a:cubicBezTo>
                    <a:pt x="3677" y="10544"/>
                    <a:pt x="3760" y="10210"/>
                    <a:pt x="3811" y="9825"/>
                  </a:cubicBezTo>
                  <a:cubicBezTo>
                    <a:pt x="3844" y="9625"/>
                    <a:pt x="3861" y="9424"/>
                    <a:pt x="3861" y="9224"/>
                  </a:cubicBezTo>
                  <a:cubicBezTo>
                    <a:pt x="3844" y="9007"/>
                    <a:pt x="3827" y="8806"/>
                    <a:pt x="3760" y="8589"/>
                  </a:cubicBezTo>
                  <a:cubicBezTo>
                    <a:pt x="3643" y="8154"/>
                    <a:pt x="3410" y="7753"/>
                    <a:pt x="3109" y="7403"/>
                  </a:cubicBezTo>
                  <a:cubicBezTo>
                    <a:pt x="2808" y="7035"/>
                    <a:pt x="2457" y="6684"/>
                    <a:pt x="2106" y="6367"/>
                  </a:cubicBezTo>
                  <a:cubicBezTo>
                    <a:pt x="1388" y="5698"/>
                    <a:pt x="703" y="5030"/>
                    <a:pt x="419" y="4228"/>
                  </a:cubicBezTo>
                  <a:cubicBezTo>
                    <a:pt x="168" y="3510"/>
                    <a:pt x="118" y="2758"/>
                    <a:pt x="285" y="2022"/>
                  </a:cubicBezTo>
                  <a:cubicBezTo>
                    <a:pt x="369" y="1521"/>
                    <a:pt x="502" y="1020"/>
                    <a:pt x="653" y="535"/>
                  </a:cubicBezTo>
                  <a:cubicBezTo>
                    <a:pt x="703" y="385"/>
                    <a:pt x="736" y="251"/>
                    <a:pt x="770" y="151"/>
                  </a:cubicBezTo>
                  <a:cubicBezTo>
                    <a:pt x="786" y="101"/>
                    <a:pt x="803" y="51"/>
                    <a:pt x="80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666" name="Google Shape;2666;p53"/>
          <p:cNvSpPr txBox="1">
            <a:spLocks noGrp="1"/>
          </p:cNvSpPr>
          <p:nvPr>
            <p:ph type="title"/>
          </p:nvPr>
        </p:nvSpPr>
        <p:spPr>
          <a:xfrm>
            <a:off x="720000" y="540000"/>
            <a:ext cx="7704000" cy="32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CO" dirty="0"/>
              <a:t>Lógica de modelamiento</a:t>
            </a:r>
            <a:endParaRPr dirty="0"/>
          </a:p>
        </p:txBody>
      </p:sp>
      <p:sp>
        <p:nvSpPr>
          <p:cNvPr id="2667" name="Google Shape;2667;p53"/>
          <p:cNvSpPr txBox="1">
            <a:spLocks noGrp="1"/>
          </p:cNvSpPr>
          <p:nvPr>
            <p:ph type="subTitle" idx="1"/>
          </p:nvPr>
        </p:nvSpPr>
        <p:spPr>
          <a:xfrm>
            <a:off x="1157675" y="2391276"/>
            <a:ext cx="18369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01. Efecto D</a:t>
            </a:r>
            <a:r>
              <a:rPr lang="es-CO" dirty="0" err="1"/>
              <a:t>ropsize</a:t>
            </a:r>
            <a:endParaRPr dirty="0"/>
          </a:p>
        </p:txBody>
      </p:sp>
      <p:sp>
        <p:nvSpPr>
          <p:cNvPr id="2668" name="Google Shape;2668;p53"/>
          <p:cNvSpPr txBox="1">
            <a:spLocks noGrp="1"/>
          </p:cNvSpPr>
          <p:nvPr>
            <p:ph type="subTitle" idx="2"/>
          </p:nvPr>
        </p:nvSpPr>
        <p:spPr>
          <a:xfrm>
            <a:off x="1157675" y="2810282"/>
            <a:ext cx="18369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CO" dirty="0"/>
              <a:t>Se intenta reconocer este efecto con las variables total mes</a:t>
            </a:r>
            <a:endParaRPr dirty="0"/>
          </a:p>
        </p:txBody>
      </p:sp>
      <p:sp>
        <p:nvSpPr>
          <p:cNvPr id="2669" name="Google Shape;2669;p53"/>
          <p:cNvSpPr txBox="1">
            <a:spLocks noGrp="1"/>
          </p:cNvSpPr>
          <p:nvPr>
            <p:ph type="subTitle" idx="3"/>
          </p:nvPr>
        </p:nvSpPr>
        <p:spPr>
          <a:xfrm>
            <a:off x="3346475" y="2391276"/>
            <a:ext cx="18369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02. Canibalización</a:t>
            </a:r>
            <a:endParaRPr dirty="0"/>
          </a:p>
        </p:txBody>
      </p:sp>
      <p:sp>
        <p:nvSpPr>
          <p:cNvPr id="2670" name="Google Shape;2670;p53"/>
          <p:cNvSpPr txBox="1">
            <a:spLocks noGrp="1"/>
          </p:cNvSpPr>
          <p:nvPr>
            <p:ph type="subTitle" idx="4"/>
          </p:nvPr>
        </p:nvSpPr>
        <p:spPr>
          <a:xfrm>
            <a:off x="3346475" y="2802787"/>
            <a:ext cx="18369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CO" dirty="0"/>
              <a:t>Se toma en cuenta variables del producto objetivo</a:t>
            </a:r>
            <a:endParaRPr dirty="0"/>
          </a:p>
        </p:txBody>
      </p:sp>
      <p:sp>
        <p:nvSpPr>
          <p:cNvPr id="2671" name="Google Shape;2671;p53"/>
          <p:cNvSpPr txBox="1">
            <a:spLocks noGrp="1"/>
          </p:cNvSpPr>
          <p:nvPr>
            <p:ph type="subTitle" idx="5"/>
          </p:nvPr>
        </p:nvSpPr>
        <p:spPr>
          <a:xfrm>
            <a:off x="1157675" y="3360600"/>
            <a:ext cx="18369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03. Historia del producto</a:t>
            </a:r>
            <a:endParaRPr dirty="0"/>
          </a:p>
        </p:txBody>
      </p:sp>
      <p:sp>
        <p:nvSpPr>
          <p:cNvPr id="2672" name="Google Shape;2672;p53"/>
          <p:cNvSpPr txBox="1">
            <a:spLocks noGrp="1"/>
          </p:cNvSpPr>
          <p:nvPr>
            <p:ph type="subTitle" idx="6"/>
          </p:nvPr>
        </p:nvSpPr>
        <p:spPr>
          <a:xfrm>
            <a:off x="1157675" y="3899526"/>
            <a:ext cx="18369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¿Cuánto producto </a:t>
            </a:r>
            <a:r>
              <a:rPr lang="es-CO" dirty="0"/>
              <a:t>ha comprado el cliente en el pasado?</a:t>
            </a:r>
            <a:endParaRPr dirty="0"/>
          </a:p>
        </p:txBody>
      </p:sp>
      <p:sp>
        <p:nvSpPr>
          <p:cNvPr id="2673" name="Google Shape;2673;p53"/>
          <p:cNvSpPr txBox="1">
            <a:spLocks noGrp="1"/>
          </p:cNvSpPr>
          <p:nvPr>
            <p:ph type="subTitle" idx="7"/>
          </p:nvPr>
        </p:nvSpPr>
        <p:spPr>
          <a:xfrm>
            <a:off x="3346475" y="3360600"/>
            <a:ext cx="1836900" cy="27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04. Series de tiempo</a:t>
            </a:r>
            <a:endParaRPr dirty="0"/>
          </a:p>
        </p:txBody>
      </p:sp>
      <p:sp>
        <p:nvSpPr>
          <p:cNvPr id="2674" name="Google Shape;2674;p53"/>
          <p:cNvSpPr txBox="1">
            <a:spLocks noGrp="1"/>
          </p:cNvSpPr>
          <p:nvPr>
            <p:ph type="subTitle" idx="8"/>
          </p:nvPr>
        </p:nvSpPr>
        <p:spPr>
          <a:xfrm>
            <a:off x="3346475" y="3899526"/>
            <a:ext cx="1836900" cy="45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CO" dirty="0"/>
              <a:t>Se tienen en cuenta 2 meses pasados por variable</a:t>
            </a:r>
            <a:endParaRPr dirty="0"/>
          </a:p>
        </p:txBody>
      </p:sp>
      <p:grpSp>
        <p:nvGrpSpPr>
          <p:cNvPr id="2675" name="Google Shape;2675;p53"/>
          <p:cNvGrpSpPr/>
          <p:nvPr/>
        </p:nvGrpSpPr>
        <p:grpSpPr>
          <a:xfrm>
            <a:off x="3275062" y="1302446"/>
            <a:ext cx="242762" cy="270867"/>
            <a:chOff x="7598900" y="2963738"/>
            <a:chExt cx="397450" cy="443100"/>
          </a:xfrm>
        </p:grpSpPr>
        <p:sp>
          <p:nvSpPr>
            <p:cNvPr id="2676" name="Google Shape;2676;p53"/>
            <p:cNvSpPr/>
            <p:nvPr/>
          </p:nvSpPr>
          <p:spPr>
            <a:xfrm>
              <a:off x="7598900" y="2963738"/>
              <a:ext cx="397450" cy="443100"/>
            </a:xfrm>
            <a:custGeom>
              <a:avLst/>
              <a:gdLst/>
              <a:ahLst/>
              <a:cxnLst/>
              <a:rect l="l" t="t" r="r" b="b"/>
              <a:pathLst>
                <a:path w="15898" h="17724" extrusionOk="0">
                  <a:moveTo>
                    <a:pt x="501" y="1"/>
                  </a:moveTo>
                  <a:cubicBezTo>
                    <a:pt x="219" y="1"/>
                    <a:pt x="1" y="262"/>
                    <a:pt x="1" y="550"/>
                  </a:cubicBezTo>
                  <a:lnTo>
                    <a:pt x="1" y="17146"/>
                  </a:lnTo>
                  <a:cubicBezTo>
                    <a:pt x="1" y="17481"/>
                    <a:pt x="244" y="17724"/>
                    <a:pt x="548" y="17724"/>
                  </a:cubicBezTo>
                  <a:lnTo>
                    <a:pt x="15350" y="17724"/>
                  </a:lnTo>
                  <a:cubicBezTo>
                    <a:pt x="15654" y="17724"/>
                    <a:pt x="15897" y="17481"/>
                    <a:pt x="15897" y="17146"/>
                  </a:cubicBezTo>
                  <a:lnTo>
                    <a:pt x="15897" y="550"/>
                  </a:lnTo>
                  <a:cubicBezTo>
                    <a:pt x="15897" y="262"/>
                    <a:pt x="15679" y="1"/>
                    <a:pt x="15397" y="1"/>
                  </a:cubicBezTo>
                  <a:cubicBezTo>
                    <a:pt x="15381" y="1"/>
                    <a:pt x="15366" y="2"/>
                    <a:pt x="15350" y="3"/>
                  </a:cubicBezTo>
                  <a:lnTo>
                    <a:pt x="548" y="3"/>
                  </a:lnTo>
                  <a:cubicBezTo>
                    <a:pt x="532" y="2"/>
                    <a:pt x="517" y="1"/>
                    <a:pt x="50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7" name="Google Shape;2677;p53"/>
            <p:cNvSpPr/>
            <p:nvPr/>
          </p:nvSpPr>
          <p:spPr>
            <a:xfrm>
              <a:off x="7728850" y="3047588"/>
              <a:ext cx="137550" cy="45425"/>
            </a:xfrm>
            <a:custGeom>
              <a:avLst/>
              <a:gdLst/>
              <a:ahLst/>
              <a:cxnLst/>
              <a:rect l="l" t="t" r="r" b="b"/>
              <a:pathLst>
                <a:path w="5502" h="1817" extrusionOk="0">
                  <a:moveTo>
                    <a:pt x="304" y="0"/>
                  </a:moveTo>
                  <a:cubicBezTo>
                    <a:pt x="152" y="0"/>
                    <a:pt x="0" y="99"/>
                    <a:pt x="0" y="297"/>
                  </a:cubicBezTo>
                  <a:lnTo>
                    <a:pt x="0" y="753"/>
                  </a:lnTo>
                  <a:cubicBezTo>
                    <a:pt x="0" y="1361"/>
                    <a:pt x="487" y="1817"/>
                    <a:pt x="1064" y="1817"/>
                  </a:cubicBezTo>
                  <a:lnTo>
                    <a:pt x="4438" y="1817"/>
                  </a:lnTo>
                  <a:cubicBezTo>
                    <a:pt x="5015" y="1817"/>
                    <a:pt x="5502" y="1361"/>
                    <a:pt x="5502" y="753"/>
                  </a:cubicBezTo>
                  <a:lnTo>
                    <a:pt x="5502" y="297"/>
                  </a:lnTo>
                  <a:cubicBezTo>
                    <a:pt x="5502" y="99"/>
                    <a:pt x="5350" y="0"/>
                    <a:pt x="5198" y="0"/>
                  </a:cubicBezTo>
                  <a:cubicBezTo>
                    <a:pt x="5046" y="0"/>
                    <a:pt x="4894" y="99"/>
                    <a:pt x="4894" y="297"/>
                  </a:cubicBezTo>
                  <a:lnTo>
                    <a:pt x="4894" y="753"/>
                  </a:lnTo>
                  <a:cubicBezTo>
                    <a:pt x="4894" y="1026"/>
                    <a:pt x="4681" y="1209"/>
                    <a:pt x="4438" y="1209"/>
                  </a:cubicBezTo>
                  <a:lnTo>
                    <a:pt x="1064" y="1209"/>
                  </a:lnTo>
                  <a:cubicBezTo>
                    <a:pt x="821" y="1209"/>
                    <a:pt x="608" y="1026"/>
                    <a:pt x="608" y="753"/>
                  </a:cubicBezTo>
                  <a:lnTo>
                    <a:pt x="608" y="297"/>
                  </a:lnTo>
                  <a:cubicBezTo>
                    <a:pt x="608" y="99"/>
                    <a:pt x="456" y="0"/>
                    <a:pt x="304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8" name="Google Shape;2678;p53"/>
            <p:cNvSpPr/>
            <p:nvPr/>
          </p:nvSpPr>
          <p:spPr>
            <a:xfrm>
              <a:off x="7728850" y="3269463"/>
              <a:ext cx="137550" cy="45450"/>
            </a:xfrm>
            <a:custGeom>
              <a:avLst/>
              <a:gdLst/>
              <a:ahLst/>
              <a:cxnLst/>
              <a:rect l="l" t="t" r="r" b="b"/>
              <a:pathLst>
                <a:path w="5502" h="1818" extrusionOk="0">
                  <a:moveTo>
                    <a:pt x="304" y="1"/>
                  </a:moveTo>
                  <a:cubicBezTo>
                    <a:pt x="152" y="1"/>
                    <a:pt x="0" y="100"/>
                    <a:pt x="0" y="297"/>
                  </a:cubicBezTo>
                  <a:lnTo>
                    <a:pt x="0" y="753"/>
                  </a:lnTo>
                  <a:cubicBezTo>
                    <a:pt x="0" y="1331"/>
                    <a:pt x="487" y="1817"/>
                    <a:pt x="1064" y="1817"/>
                  </a:cubicBezTo>
                  <a:lnTo>
                    <a:pt x="4438" y="1817"/>
                  </a:lnTo>
                  <a:cubicBezTo>
                    <a:pt x="5015" y="1817"/>
                    <a:pt x="5502" y="1331"/>
                    <a:pt x="5502" y="753"/>
                  </a:cubicBezTo>
                  <a:lnTo>
                    <a:pt x="5502" y="297"/>
                  </a:lnTo>
                  <a:cubicBezTo>
                    <a:pt x="5502" y="100"/>
                    <a:pt x="5350" y="1"/>
                    <a:pt x="5198" y="1"/>
                  </a:cubicBezTo>
                  <a:cubicBezTo>
                    <a:pt x="5046" y="1"/>
                    <a:pt x="4894" y="100"/>
                    <a:pt x="4894" y="297"/>
                  </a:cubicBezTo>
                  <a:lnTo>
                    <a:pt x="4894" y="753"/>
                  </a:lnTo>
                  <a:cubicBezTo>
                    <a:pt x="4894" y="996"/>
                    <a:pt x="4681" y="1209"/>
                    <a:pt x="4438" y="1209"/>
                  </a:cubicBezTo>
                  <a:lnTo>
                    <a:pt x="1064" y="1209"/>
                  </a:lnTo>
                  <a:cubicBezTo>
                    <a:pt x="821" y="1209"/>
                    <a:pt x="608" y="996"/>
                    <a:pt x="608" y="753"/>
                  </a:cubicBezTo>
                  <a:lnTo>
                    <a:pt x="608" y="297"/>
                  </a:lnTo>
                  <a:cubicBezTo>
                    <a:pt x="608" y="100"/>
                    <a:pt x="456" y="1"/>
                    <a:pt x="304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9" name="Google Shape;2679;p53"/>
            <p:cNvSpPr/>
            <p:nvPr/>
          </p:nvSpPr>
          <p:spPr>
            <a:xfrm>
              <a:off x="7598900" y="3177338"/>
              <a:ext cx="397450" cy="15225"/>
            </a:xfrm>
            <a:custGeom>
              <a:avLst/>
              <a:gdLst/>
              <a:ahLst/>
              <a:cxnLst/>
              <a:rect l="l" t="t" r="r" b="b"/>
              <a:pathLst>
                <a:path w="15898" h="609" extrusionOk="0">
                  <a:moveTo>
                    <a:pt x="1" y="0"/>
                  </a:moveTo>
                  <a:lnTo>
                    <a:pt x="1" y="608"/>
                  </a:lnTo>
                  <a:lnTo>
                    <a:pt x="15897" y="608"/>
                  </a:lnTo>
                  <a:lnTo>
                    <a:pt x="15897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680" name="Google Shape;2680;p53"/>
          <p:cNvGrpSpPr/>
          <p:nvPr/>
        </p:nvGrpSpPr>
        <p:grpSpPr>
          <a:xfrm>
            <a:off x="4826634" y="1302021"/>
            <a:ext cx="308243" cy="271291"/>
            <a:chOff x="3106425" y="2972938"/>
            <a:chExt cx="474950" cy="417950"/>
          </a:xfrm>
        </p:grpSpPr>
        <p:sp>
          <p:nvSpPr>
            <p:cNvPr id="2681" name="Google Shape;2681;p53"/>
            <p:cNvSpPr/>
            <p:nvPr/>
          </p:nvSpPr>
          <p:spPr>
            <a:xfrm>
              <a:off x="3270550" y="2972938"/>
              <a:ext cx="310825" cy="57775"/>
            </a:xfrm>
            <a:custGeom>
              <a:avLst/>
              <a:gdLst/>
              <a:ahLst/>
              <a:cxnLst/>
              <a:rect l="l" t="t" r="r" b="b"/>
              <a:pathLst>
                <a:path w="12433" h="2311" extrusionOk="0">
                  <a:moveTo>
                    <a:pt x="1" y="0"/>
                  </a:moveTo>
                  <a:lnTo>
                    <a:pt x="1642" y="2310"/>
                  </a:lnTo>
                  <a:lnTo>
                    <a:pt x="12432" y="2310"/>
                  </a:lnTo>
                  <a:lnTo>
                    <a:pt x="12432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2" name="Google Shape;2682;p53"/>
            <p:cNvSpPr/>
            <p:nvPr/>
          </p:nvSpPr>
          <p:spPr>
            <a:xfrm>
              <a:off x="3106425" y="2972938"/>
              <a:ext cx="474950" cy="417950"/>
            </a:xfrm>
            <a:custGeom>
              <a:avLst/>
              <a:gdLst/>
              <a:ahLst/>
              <a:cxnLst/>
              <a:rect l="l" t="t" r="r" b="b"/>
              <a:pathLst>
                <a:path w="18998" h="16718" extrusionOk="0">
                  <a:moveTo>
                    <a:pt x="0" y="0"/>
                  </a:moveTo>
                  <a:lnTo>
                    <a:pt x="0" y="2310"/>
                  </a:lnTo>
                  <a:lnTo>
                    <a:pt x="0" y="16718"/>
                  </a:lnTo>
                  <a:lnTo>
                    <a:pt x="18997" y="16718"/>
                  </a:lnTo>
                  <a:lnTo>
                    <a:pt x="18997" y="4590"/>
                  </a:lnTo>
                  <a:lnTo>
                    <a:pt x="9848" y="4590"/>
                  </a:lnTo>
                  <a:lnTo>
                    <a:pt x="8207" y="2310"/>
                  </a:lnTo>
                  <a:lnTo>
                    <a:pt x="6566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3" name="Google Shape;2683;p53"/>
            <p:cNvSpPr/>
            <p:nvPr/>
          </p:nvSpPr>
          <p:spPr>
            <a:xfrm>
              <a:off x="3311575" y="3030688"/>
              <a:ext cx="269800" cy="57000"/>
            </a:xfrm>
            <a:custGeom>
              <a:avLst/>
              <a:gdLst/>
              <a:ahLst/>
              <a:cxnLst/>
              <a:rect l="l" t="t" r="r" b="b"/>
              <a:pathLst>
                <a:path w="10792" h="2280" extrusionOk="0">
                  <a:moveTo>
                    <a:pt x="1" y="0"/>
                  </a:moveTo>
                  <a:lnTo>
                    <a:pt x="1642" y="2280"/>
                  </a:lnTo>
                  <a:lnTo>
                    <a:pt x="10791" y="2280"/>
                  </a:lnTo>
                  <a:lnTo>
                    <a:pt x="10791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684" name="Google Shape;2684;p53"/>
          <p:cNvGrpSpPr/>
          <p:nvPr/>
        </p:nvGrpSpPr>
        <p:grpSpPr>
          <a:xfrm>
            <a:off x="6449715" y="1302048"/>
            <a:ext cx="229069" cy="271264"/>
            <a:chOff x="936175" y="2956213"/>
            <a:chExt cx="375400" cy="444550"/>
          </a:xfrm>
        </p:grpSpPr>
        <p:sp>
          <p:nvSpPr>
            <p:cNvPr id="2685" name="Google Shape;2685;p53"/>
            <p:cNvSpPr/>
            <p:nvPr/>
          </p:nvSpPr>
          <p:spPr>
            <a:xfrm>
              <a:off x="936175" y="2986613"/>
              <a:ext cx="375400" cy="414150"/>
            </a:xfrm>
            <a:custGeom>
              <a:avLst/>
              <a:gdLst/>
              <a:ahLst/>
              <a:cxnLst/>
              <a:rect l="l" t="t" r="r" b="b"/>
              <a:pathLst>
                <a:path w="15016" h="16566" extrusionOk="0">
                  <a:moveTo>
                    <a:pt x="0" y="0"/>
                  </a:moveTo>
                  <a:lnTo>
                    <a:pt x="0" y="16566"/>
                  </a:lnTo>
                  <a:lnTo>
                    <a:pt x="15015" y="16566"/>
                  </a:lnTo>
                  <a:lnTo>
                    <a:pt x="15015" y="0"/>
                  </a:lnTo>
                  <a:lnTo>
                    <a:pt x="7052" y="0"/>
                  </a:lnTo>
                  <a:lnTo>
                    <a:pt x="7052" y="7356"/>
                  </a:lnTo>
                  <a:lnTo>
                    <a:pt x="4590" y="5532"/>
                  </a:lnTo>
                  <a:lnTo>
                    <a:pt x="2158" y="7356"/>
                  </a:lnTo>
                  <a:lnTo>
                    <a:pt x="2158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6" name="Google Shape;2686;p53"/>
            <p:cNvSpPr/>
            <p:nvPr/>
          </p:nvSpPr>
          <p:spPr>
            <a:xfrm>
              <a:off x="979475" y="3224438"/>
              <a:ext cx="288775" cy="15225"/>
            </a:xfrm>
            <a:custGeom>
              <a:avLst/>
              <a:gdLst/>
              <a:ahLst/>
              <a:cxnLst/>
              <a:rect l="l" t="t" r="r" b="b"/>
              <a:pathLst>
                <a:path w="11551" h="609" extrusionOk="0">
                  <a:moveTo>
                    <a:pt x="426" y="1"/>
                  </a:moveTo>
                  <a:cubicBezTo>
                    <a:pt x="1" y="1"/>
                    <a:pt x="1" y="609"/>
                    <a:pt x="426" y="609"/>
                  </a:cubicBezTo>
                  <a:lnTo>
                    <a:pt x="11125" y="609"/>
                  </a:lnTo>
                  <a:cubicBezTo>
                    <a:pt x="11551" y="609"/>
                    <a:pt x="11551" y="1"/>
                    <a:pt x="111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7" name="Google Shape;2687;p53"/>
            <p:cNvSpPr/>
            <p:nvPr/>
          </p:nvSpPr>
          <p:spPr>
            <a:xfrm>
              <a:off x="1148175" y="3170488"/>
              <a:ext cx="120075" cy="15225"/>
            </a:xfrm>
            <a:custGeom>
              <a:avLst/>
              <a:gdLst/>
              <a:ahLst/>
              <a:cxnLst/>
              <a:rect l="l" t="t" r="r" b="b"/>
              <a:pathLst>
                <a:path w="4803" h="609" extrusionOk="0">
                  <a:moveTo>
                    <a:pt x="396" y="1"/>
                  </a:moveTo>
                  <a:cubicBezTo>
                    <a:pt x="0" y="1"/>
                    <a:pt x="0" y="609"/>
                    <a:pt x="396" y="609"/>
                  </a:cubicBezTo>
                  <a:lnTo>
                    <a:pt x="4377" y="609"/>
                  </a:lnTo>
                  <a:cubicBezTo>
                    <a:pt x="4803" y="609"/>
                    <a:pt x="4803" y="1"/>
                    <a:pt x="43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8" name="Google Shape;2688;p53"/>
            <p:cNvSpPr/>
            <p:nvPr/>
          </p:nvSpPr>
          <p:spPr>
            <a:xfrm>
              <a:off x="1148175" y="3117313"/>
              <a:ext cx="120075" cy="15225"/>
            </a:xfrm>
            <a:custGeom>
              <a:avLst/>
              <a:gdLst/>
              <a:ahLst/>
              <a:cxnLst/>
              <a:rect l="l" t="t" r="r" b="b"/>
              <a:pathLst>
                <a:path w="4803" h="609" extrusionOk="0">
                  <a:moveTo>
                    <a:pt x="396" y="0"/>
                  </a:moveTo>
                  <a:cubicBezTo>
                    <a:pt x="0" y="0"/>
                    <a:pt x="0" y="608"/>
                    <a:pt x="396" y="608"/>
                  </a:cubicBezTo>
                  <a:lnTo>
                    <a:pt x="4377" y="608"/>
                  </a:lnTo>
                  <a:cubicBezTo>
                    <a:pt x="4803" y="608"/>
                    <a:pt x="4803" y="0"/>
                    <a:pt x="43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9" name="Google Shape;2689;p53"/>
            <p:cNvSpPr/>
            <p:nvPr/>
          </p:nvSpPr>
          <p:spPr>
            <a:xfrm>
              <a:off x="1148175" y="3063363"/>
              <a:ext cx="120075" cy="15200"/>
            </a:xfrm>
            <a:custGeom>
              <a:avLst/>
              <a:gdLst/>
              <a:ahLst/>
              <a:cxnLst/>
              <a:rect l="l" t="t" r="r" b="b"/>
              <a:pathLst>
                <a:path w="4803" h="608" extrusionOk="0">
                  <a:moveTo>
                    <a:pt x="396" y="0"/>
                  </a:moveTo>
                  <a:cubicBezTo>
                    <a:pt x="0" y="0"/>
                    <a:pt x="0" y="608"/>
                    <a:pt x="396" y="608"/>
                  </a:cubicBezTo>
                  <a:lnTo>
                    <a:pt x="4377" y="608"/>
                  </a:lnTo>
                  <a:cubicBezTo>
                    <a:pt x="4803" y="608"/>
                    <a:pt x="4803" y="0"/>
                    <a:pt x="43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0" name="Google Shape;2690;p53"/>
            <p:cNvSpPr/>
            <p:nvPr/>
          </p:nvSpPr>
          <p:spPr>
            <a:xfrm>
              <a:off x="979475" y="3316388"/>
              <a:ext cx="288775" cy="15225"/>
            </a:xfrm>
            <a:custGeom>
              <a:avLst/>
              <a:gdLst/>
              <a:ahLst/>
              <a:cxnLst/>
              <a:rect l="l" t="t" r="r" b="b"/>
              <a:pathLst>
                <a:path w="11551" h="609" extrusionOk="0">
                  <a:moveTo>
                    <a:pt x="426" y="1"/>
                  </a:moveTo>
                  <a:cubicBezTo>
                    <a:pt x="1" y="1"/>
                    <a:pt x="1" y="609"/>
                    <a:pt x="426" y="609"/>
                  </a:cubicBezTo>
                  <a:lnTo>
                    <a:pt x="11125" y="609"/>
                  </a:lnTo>
                  <a:cubicBezTo>
                    <a:pt x="11551" y="609"/>
                    <a:pt x="11551" y="1"/>
                    <a:pt x="1112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1" name="Google Shape;2691;p53"/>
            <p:cNvSpPr/>
            <p:nvPr/>
          </p:nvSpPr>
          <p:spPr>
            <a:xfrm>
              <a:off x="979475" y="3270038"/>
              <a:ext cx="127700" cy="15225"/>
            </a:xfrm>
            <a:custGeom>
              <a:avLst/>
              <a:gdLst/>
              <a:ahLst/>
              <a:cxnLst/>
              <a:rect l="l" t="t" r="r" b="b"/>
              <a:pathLst>
                <a:path w="5108" h="609" extrusionOk="0">
                  <a:moveTo>
                    <a:pt x="426" y="1"/>
                  </a:moveTo>
                  <a:cubicBezTo>
                    <a:pt x="1" y="1"/>
                    <a:pt x="1" y="609"/>
                    <a:pt x="426" y="609"/>
                  </a:cubicBezTo>
                  <a:lnTo>
                    <a:pt x="4712" y="609"/>
                  </a:lnTo>
                  <a:cubicBezTo>
                    <a:pt x="5107" y="609"/>
                    <a:pt x="5107" y="1"/>
                    <a:pt x="471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2" name="Google Shape;2692;p53"/>
            <p:cNvSpPr/>
            <p:nvPr/>
          </p:nvSpPr>
          <p:spPr>
            <a:xfrm>
              <a:off x="1148175" y="3270038"/>
              <a:ext cx="120075" cy="15225"/>
            </a:xfrm>
            <a:custGeom>
              <a:avLst/>
              <a:gdLst/>
              <a:ahLst/>
              <a:cxnLst/>
              <a:rect l="l" t="t" r="r" b="b"/>
              <a:pathLst>
                <a:path w="4803" h="609" extrusionOk="0">
                  <a:moveTo>
                    <a:pt x="396" y="1"/>
                  </a:moveTo>
                  <a:cubicBezTo>
                    <a:pt x="0" y="1"/>
                    <a:pt x="0" y="609"/>
                    <a:pt x="396" y="609"/>
                  </a:cubicBezTo>
                  <a:lnTo>
                    <a:pt x="4377" y="609"/>
                  </a:lnTo>
                  <a:cubicBezTo>
                    <a:pt x="4803" y="609"/>
                    <a:pt x="4803" y="1"/>
                    <a:pt x="437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3" name="Google Shape;2693;p53"/>
            <p:cNvSpPr/>
            <p:nvPr/>
          </p:nvSpPr>
          <p:spPr>
            <a:xfrm>
              <a:off x="1119225" y="3270888"/>
              <a:ext cx="16050" cy="14375"/>
            </a:xfrm>
            <a:custGeom>
              <a:avLst/>
              <a:gdLst/>
              <a:ahLst/>
              <a:cxnLst/>
              <a:rect l="l" t="t" r="r" b="b"/>
              <a:pathLst>
                <a:path w="642" h="575" extrusionOk="0">
                  <a:moveTo>
                    <a:pt x="428" y="0"/>
                  </a:moveTo>
                  <a:cubicBezTo>
                    <a:pt x="194" y="0"/>
                    <a:pt x="1" y="575"/>
                    <a:pt x="338" y="575"/>
                  </a:cubicBezTo>
                  <a:cubicBezTo>
                    <a:pt x="429" y="575"/>
                    <a:pt x="490" y="544"/>
                    <a:pt x="550" y="483"/>
                  </a:cubicBezTo>
                  <a:cubicBezTo>
                    <a:pt x="611" y="423"/>
                    <a:pt x="642" y="362"/>
                    <a:pt x="642" y="271"/>
                  </a:cubicBezTo>
                  <a:cubicBezTo>
                    <a:pt x="642" y="210"/>
                    <a:pt x="611" y="119"/>
                    <a:pt x="550" y="58"/>
                  </a:cubicBezTo>
                  <a:cubicBezTo>
                    <a:pt x="510" y="18"/>
                    <a:pt x="468" y="0"/>
                    <a:pt x="42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4" name="Google Shape;2694;p53"/>
            <p:cNvSpPr/>
            <p:nvPr/>
          </p:nvSpPr>
          <p:spPr>
            <a:xfrm>
              <a:off x="990125" y="2956213"/>
              <a:ext cx="122350" cy="214300"/>
            </a:xfrm>
            <a:custGeom>
              <a:avLst/>
              <a:gdLst/>
              <a:ahLst/>
              <a:cxnLst/>
              <a:rect l="l" t="t" r="r" b="b"/>
              <a:pathLst>
                <a:path w="4894" h="8572" extrusionOk="0">
                  <a:moveTo>
                    <a:pt x="0" y="0"/>
                  </a:moveTo>
                  <a:lnTo>
                    <a:pt x="0" y="8572"/>
                  </a:lnTo>
                  <a:lnTo>
                    <a:pt x="2432" y="6748"/>
                  </a:lnTo>
                  <a:lnTo>
                    <a:pt x="4894" y="8572"/>
                  </a:lnTo>
                  <a:lnTo>
                    <a:pt x="4894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695" name="Google Shape;2695;p53"/>
          <p:cNvGrpSpPr/>
          <p:nvPr/>
        </p:nvGrpSpPr>
        <p:grpSpPr>
          <a:xfrm>
            <a:off x="1669688" y="1302041"/>
            <a:ext cx="275817" cy="271272"/>
            <a:chOff x="5338975" y="2963038"/>
            <a:chExt cx="415700" cy="408850"/>
          </a:xfrm>
        </p:grpSpPr>
        <p:sp>
          <p:nvSpPr>
            <p:cNvPr id="2696" name="Google Shape;2696;p53"/>
            <p:cNvSpPr/>
            <p:nvPr/>
          </p:nvSpPr>
          <p:spPr>
            <a:xfrm>
              <a:off x="5338975" y="3000288"/>
              <a:ext cx="415700" cy="74475"/>
            </a:xfrm>
            <a:custGeom>
              <a:avLst/>
              <a:gdLst/>
              <a:ahLst/>
              <a:cxnLst/>
              <a:rect l="l" t="t" r="r" b="b"/>
              <a:pathLst>
                <a:path w="16628" h="2979" extrusionOk="0">
                  <a:moveTo>
                    <a:pt x="1" y="0"/>
                  </a:moveTo>
                  <a:lnTo>
                    <a:pt x="1" y="2979"/>
                  </a:lnTo>
                  <a:lnTo>
                    <a:pt x="16627" y="2979"/>
                  </a:lnTo>
                  <a:lnTo>
                    <a:pt x="16627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7" name="Google Shape;2697;p53"/>
            <p:cNvSpPr/>
            <p:nvPr/>
          </p:nvSpPr>
          <p:spPr>
            <a:xfrm>
              <a:off x="5591275" y="2963038"/>
              <a:ext cx="71450" cy="74500"/>
            </a:xfrm>
            <a:custGeom>
              <a:avLst/>
              <a:gdLst/>
              <a:ahLst/>
              <a:cxnLst/>
              <a:rect l="l" t="t" r="r" b="b"/>
              <a:pathLst>
                <a:path w="2858" h="2980" extrusionOk="0">
                  <a:moveTo>
                    <a:pt x="882" y="1"/>
                  </a:moveTo>
                  <a:lnTo>
                    <a:pt x="882" y="31"/>
                  </a:lnTo>
                  <a:cubicBezTo>
                    <a:pt x="578" y="31"/>
                    <a:pt x="243" y="122"/>
                    <a:pt x="0" y="335"/>
                  </a:cubicBezTo>
                  <a:cubicBezTo>
                    <a:pt x="152" y="426"/>
                    <a:pt x="304" y="578"/>
                    <a:pt x="395" y="761"/>
                  </a:cubicBezTo>
                  <a:cubicBezTo>
                    <a:pt x="546" y="657"/>
                    <a:pt x="717" y="609"/>
                    <a:pt x="886" y="609"/>
                  </a:cubicBezTo>
                  <a:cubicBezTo>
                    <a:pt x="1262" y="609"/>
                    <a:pt x="1628" y="848"/>
                    <a:pt x="1733" y="1247"/>
                  </a:cubicBezTo>
                  <a:cubicBezTo>
                    <a:pt x="1915" y="1825"/>
                    <a:pt x="1489" y="2402"/>
                    <a:pt x="882" y="2402"/>
                  </a:cubicBezTo>
                  <a:cubicBezTo>
                    <a:pt x="486" y="2402"/>
                    <a:pt x="486" y="2980"/>
                    <a:pt x="882" y="2980"/>
                  </a:cubicBezTo>
                  <a:cubicBezTo>
                    <a:pt x="2857" y="2980"/>
                    <a:pt x="2857" y="1"/>
                    <a:pt x="882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8" name="Google Shape;2698;p53"/>
            <p:cNvSpPr/>
            <p:nvPr/>
          </p:nvSpPr>
          <p:spPr>
            <a:xfrm>
              <a:off x="5546425" y="2963438"/>
              <a:ext cx="60050" cy="74100"/>
            </a:xfrm>
            <a:custGeom>
              <a:avLst/>
              <a:gdLst/>
              <a:ahLst/>
              <a:cxnLst/>
              <a:rect l="l" t="t" r="r" b="b"/>
              <a:pathLst>
                <a:path w="2402" h="2964" extrusionOk="0">
                  <a:moveTo>
                    <a:pt x="909" y="0"/>
                  </a:moveTo>
                  <a:cubicBezTo>
                    <a:pt x="593" y="0"/>
                    <a:pt x="274" y="106"/>
                    <a:pt x="1" y="319"/>
                  </a:cubicBezTo>
                  <a:cubicBezTo>
                    <a:pt x="183" y="410"/>
                    <a:pt x="305" y="562"/>
                    <a:pt x="396" y="745"/>
                  </a:cubicBezTo>
                  <a:cubicBezTo>
                    <a:pt x="556" y="641"/>
                    <a:pt x="730" y="593"/>
                    <a:pt x="901" y="593"/>
                  </a:cubicBezTo>
                  <a:cubicBezTo>
                    <a:pt x="1280" y="593"/>
                    <a:pt x="1638" y="832"/>
                    <a:pt x="1764" y="1231"/>
                  </a:cubicBezTo>
                  <a:cubicBezTo>
                    <a:pt x="1946" y="1809"/>
                    <a:pt x="1490" y="2386"/>
                    <a:pt x="913" y="2386"/>
                  </a:cubicBezTo>
                  <a:cubicBezTo>
                    <a:pt x="517" y="2386"/>
                    <a:pt x="517" y="2964"/>
                    <a:pt x="913" y="2964"/>
                  </a:cubicBezTo>
                  <a:cubicBezTo>
                    <a:pt x="1733" y="2964"/>
                    <a:pt x="2402" y="2295"/>
                    <a:pt x="2402" y="1474"/>
                  </a:cubicBezTo>
                  <a:cubicBezTo>
                    <a:pt x="2402" y="1231"/>
                    <a:pt x="2311" y="958"/>
                    <a:pt x="2189" y="745"/>
                  </a:cubicBezTo>
                  <a:cubicBezTo>
                    <a:pt x="2098" y="562"/>
                    <a:pt x="1946" y="410"/>
                    <a:pt x="1794" y="319"/>
                  </a:cubicBezTo>
                  <a:cubicBezTo>
                    <a:pt x="1536" y="106"/>
                    <a:pt x="1224" y="0"/>
                    <a:pt x="90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9" name="Google Shape;2699;p53"/>
            <p:cNvSpPr/>
            <p:nvPr/>
          </p:nvSpPr>
          <p:spPr>
            <a:xfrm>
              <a:off x="5502350" y="2963438"/>
              <a:ext cx="59300" cy="74100"/>
            </a:xfrm>
            <a:custGeom>
              <a:avLst/>
              <a:gdLst/>
              <a:ahLst/>
              <a:cxnLst/>
              <a:rect l="l" t="t" r="r" b="b"/>
              <a:pathLst>
                <a:path w="2372" h="2964" extrusionOk="0">
                  <a:moveTo>
                    <a:pt x="882" y="0"/>
                  </a:moveTo>
                  <a:cubicBezTo>
                    <a:pt x="571" y="0"/>
                    <a:pt x="259" y="106"/>
                    <a:pt x="1" y="319"/>
                  </a:cubicBezTo>
                  <a:cubicBezTo>
                    <a:pt x="153" y="410"/>
                    <a:pt x="274" y="562"/>
                    <a:pt x="396" y="745"/>
                  </a:cubicBezTo>
                  <a:cubicBezTo>
                    <a:pt x="547" y="641"/>
                    <a:pt x="715" y="593"/>
                    <a:pt x="880" y="593"/>
                  </a:cubicBezTo>
                  <a:cubicBezTo>
                    <a:pt x="1250" y="593"/>
                    <a:pt x="1607" y="832"/>
                    <a:pt x="1733" y="1231"/>
                  </a:cubicBezTo>
                  <a:cubicBezTo>
                    <a:pt x="1916" y="1809"/>
                    <a:pt x="1490" y="2386"/>
                    <a:pt x="882" y="2386"/>
                  </a:cubicBezTo>
                  <a:cubicBezTo>
                    <a:pt x="487" y="2386"/>
                    <a:pt x="487" y="2964"/>
                    <a:pt x="882" y="2964"/>
                  </a:cubicBezTo>
                  <a:cubicBezTo>
                    <a:pt x="1703" y="2964"/>
                    <a:pt x="2372" y="2295"/>
                    <a:pt x="2372" y="1474"/>
                  </a:cubicBezTo>
                  <a:cubicBezTo>
                    <a:pt x="2372" y="1231"/>
                    <a:pt x="2311" y="958"/>
                    <a:pt x="2159" y="745"/>
                  </a:cubicBezTo>
                  <a:cubicBezTo>
                    <a:pt x="2068" y="562"/>
                    <a:pt x="1946" y="410"/>
                    <a:pt x="1764" y="319"/>
                  </a:cubicBezTo>
                  <a:cubicBezTo>
                    <a:pt x="1505" y="106"/>
                    <a:pt x="1194" y="0"/>
                    <a:pt x="882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0" name="Google Shape;2700;p53"/>
            <p:cNvSpPr/>
            <p:nvPr/>
          </p:nvSpPr>
          <p:spPr>
            <a:xfrm>
              <a:off x="5443075" y="2963813"/>
              <a:ext cx="73750" cy="73725"/>
            </a:xfrm>
            <a:custGeom>
              <a:avLst/>
              <a:gdLst/>
              <a:ahLst/>
              <a:cxnLst/>
              <a:rect l="l" t="t" r="r" b="b"/>
              <a:pathLst>
                <a:path w="2950" h="2949" extrusionOk="0">
                  <a:moveTo>
                    <a:pt x="1460" y="0"/>
                  </a:moveTo>
                  <a:cubicBezTo>
                    <a:pt x="639" y="0"/>
                    <a:pt x="1" y="639"/>
                    <a:pt x="1" y="1459"/>
                  </a:cubicBezTo>
                  <a:lnTo>
                    <a:pt x="578" y="1459"/>
                  </a:lnTo>
                  <a:cubicBezTo>
                    <a:pt x="578" y="929"/>
                    <a:pt x="1016" y="577"/>
                    <a:pt x="1470" y="577"/>
                  </a:cubicBezTo>
                  <a:cubicBezTo>
                    <a:pt x="1692" y="577"/>
                    <a:pt x="1918" y="661"/>
                    <a:pt x="2098" y="851"/>
                  </a:cubicBezTo>
                  <a:cubicBezTo>
                    <a:pt x="2676" y="1398"/>
                    <a:pt x="2281" y="2371"/>
                    <a:pt x="1460" y="2371"/>
                  </a:cubicBezTo>
                  <a:cubicBezTo>
                    <a:pt x="1065" y="2371"/>
                    <a:pt x="1065" y="2949"/>
                    <a:pt x="1460" y="2949"/>
                  </a:cubicBezTo>
                  <a:cubicBezTo>
                    <a:pt x="2281" y="2949"/>
                    <a:pt x="2949" y="2280"/>
                    <a:pt x="2949" y="1459"/>
                  </a:cubicBezTo>
                  <a:cubicBezTo>
                    <a:pt x="2949" y="1216"/>
                    <a:pt x="2889" y="943"/>
                    <a:pt x="2767" y="730"/>
                  </a:cubicBezTo>
                  <a:cubicBezTo>
                    <a:pt x="2645" y="547"/>
                    <a:pt x="2524" y="395"/>
                    <a:pt x="2372" y="304"/>
                  </a:cubicBezTo>
                  <a:cubicBezTo>
                    <a:pt x="2098" y="91"/>
                    <a:pt x="1794" y="0"/>
                    <a:pt x="146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1" name="Google Shape;2701;p53"/>
            <p:cNvSpPr/>
            <p:nvPr/>
          </p:nvSpPr>
          <p:spPr>
            <a:xfrm>
              <a:off x="5338975" y="3074763"/>
              <a:ext cx="415700" cy="297125"/>
            </a:xfrm>
            <a:custGeom>
              <a:avLst/>
              <a:gdLst/>
              <a:ahLst/>
              <a:cxnLst/>
              <a:rect l="l" t="t" r="r" b="b"/>
              <a:pathLst>
                <a:path w="16628" h="11885" extrusionOk="0">
                  <a:moveTo>
                    <a:pt x="1" y="0"/>
                  </a:moveTo>
                  <a:lnTo>
                    <a:pt x="1" y="11885"/>
                  </a:lnTo>
                  <a:lnTo>
                    <a:pt x="16627" y="11885"/>
                  </a:lnTo>
                  <a:lnTo>
                    <a:pt x="1662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2" name="Google Shape;2702;p53"/>
            <p:cNvSpPr/>
            <p:nvPr/>
          </p:nvSpPr>
          <p:spPr>
            <a:xfrm>
              <a:off x="5388375" y="3127163"/>
              <a:ext cx="183150" cy="14475"/>
            </a:xfrm>
            <a:custGeom>
              <a:avLst/>
              <a:gdLst/>
              <a:ahLst/>
              <a:cxnLst/>
              <a:rect l="l" t="t" r="r" b="b"/>
              <a:pathLst>
                <a:path w="7326" h="579" extrusionOk="0">
                  <a:moveTo>
                    <a:pt x="367" y="0"/>
                  </a:moveTo>
                  <a:cubicBezTo>
                    <a:pt x="1" y="0"/>
                    <a:pt x="10" y="579"/>
                    <a:pt x="396" y="579"/>
                  </a:cubicBezTo>
                  <a:lnTo>
                    <a:pt x="6931" y="579"/>
                  </a:lnTo>
                  <a:cubicBezTo>
                    <a:pt x="7326" y="579"/>
                    <a:pt x="7326" y="1"/>
                    <a:pt x="6931" y="1"/>
                  </a:cubicBezTo>
                  <a:lnTo>
                    <a:pt x="396" y="1"/>
                  </a:lnTo>
                  <a:cubicBezTo>
                    <a:pt x="386" y="1"/>
                    <a:pt x="377" y="0"/>
                    <a:pt x="36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3" name="Google Shape;2703;p53"/>
            <p:cNvSpPr/>
            <p:nvPr/>
          </p:nvSpPr>
          <p:spPr>
            <a:xfrm>
              <a:off x="5573775" y="3245738"/>
              <a:ext cx="131500" cy="14450"/>
            </a:xfrm>
            <a:custGeom>
              <a:avLst/>
              <a:gdLst/>
              <a:ahLst/>
              <a:cxnLst/>
              <a:rect l="l" t="t" r="r" b="b"/>
              <a:pathLst>
                <a:path w="5260" h="578" extrusionOk="0">
                  <a:moveTo>
                    <a:pt x="396" y="0"/>
                  </a:moveTo>
                  <a:cubicBezTo>
                    <a:pt x="1" y="0"/>
                    <a:pt x="1" y="578"/>
                    <a:pt x="396" y="578"/>
                  </a:cubicBezTo>
                  <a:lnTo>
                    <a:pt x="4864" y="578"/>
                  </a:lnTo>
                  <a:cubicBezTo>
                    <a:pt x="5259" y="578"/>
                    <a:pt x="5259" y="0"/>
                    <a:pt x="486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4" name="Google Shape;2704;p53"/>
            <p:cNvSpPr/>
            <p:nvPr/>
          </p:nvSpPr>
          <p:spPr>
            <a:xfrm>
              <a:off x="5388375" y="3186463"/>
              <a:ext cx="94250" cy="14450"/>
            </a:xfrm>
            <a:custGeom>
              <a:avLst/>
              <a:gdLst/>
              <a:ahLst/>
              <a:cxnLst/>
              <a:rect l="l" t="t" r="r" b="b"/>
              <a:pathLst>
                <a:path w="3770" h="578" extrusionOk="0">
                  <a:moveTo>
                    <a:pt x="396" y="0"/>
                  </a:moveTo>
                  <a:cubicBezTo>
                    <a:pt x="0" y="0"/>
                    <a:pt x="0" y="578"/>
                    <a:pt x="396" y="578"/>
                  </a:cubicBezTo>
                  <a:lnTo>
                    <a:pt x="3374" y="578"/>
                  </a:lnTo>
                  <a:cubicBezTo>
                    <a:pt x="3769" y="578"/>
                    <a:pt x="3769" y="0"/>
                    <a:pt x="337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5" name="Google Shape;2705;p53"/>
            <p:cNvSpPr/>
            <p:nvPr/>
          </p:nvSpPr>
          <p:spPr>
            <a:xfrm>
              <a:off x="5611025" y="3304988"/>
              <a:ext cx="94250" cy="15225"/>
            </a:xfrm>
            <a:custGeom>
              <a:avLst/>
              <a:gdLst/>
              <a:ahLst/>
              <a:cxnLst/>
              <a:rect l="l" t="t" r="r" b="b"/>
              <a:pathLst>
                <a:path w="3770" h="609" extrusionOk="0">
                  <a:moveTo>
                    <a:pt x="396" y="1"/>
                  </a:moveTo>
                  <a:cubicBezTo>
                    <a:pt x="0" y="1"/>
                    <a:pt x="0" y="609"/>
                    <a:pt x="396" y="609"/>
                  </a:cubicBezTo>
                  <a:lnTo>
                    <a:pt x="3374" y="609"/>
                  </a:lnTo>
                  <a:cubicBezTo>
                    <a:pt x="3769" y="609"/>
                    <a:pt x="3769" y="1"/>
                    <a:pt x="337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6" name="Google Shape;2706;p53"/>
            <p:cNvSpPr/>
            <p:nvPr/>
          </p:nvSpPr>
          <p:spPr>
            <a:xfrm>
              <a:off x="5539600" y="3186463"/>
              <a:ext cx="128450" cy="14450"/>
            </a:xfrm>
            <a:custGeom>
              <a:avLst/>
              <a:gdLst/>
              <a:ahLst/>
              <a:cxnLst/>
              <a:rect l="l" t="t" r="r" b="b"/>
              <a:pathLst>
                <a:path w="5138" h="578" extrusionOk="0">
                  <a:moveTo>
                    <a:pt x="274" y="0"/>
                  </a:moveTo>
                  <a:cubicBezTo>
                    <a:pt x="122" y="0"/>
                    <a:pt x="0" y="122"/>
                    <a:pt x="0" y="304"/>
                  </a:cubicBezTo>
                  <a:cubicBezTo>
                    <a:pt x="0" y="456"/>
                    <a:pt x="122" y="578"/>
                    <a:pt x="274" y="578"/>
                  </a:cubicBezTo>
                  <a:lnTo>
                    <a:pt x="4742" y="578"/>
                  </a:lnTo>
                  <a:cubicBezTo>
                    <a:pt x="5137" y="578"/>
                    <a:pt x="5137" y="0"/>
                    <a:pt x="474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7" name="Google Shape;2707;p53"/>
            <p:cNvSpPr/>
            <p:nvPr/>
          </p:nvSpPr>
          <p:spPr>
            <a:xfrm>
              <a:off x="5499325" y="3186463"/>
              <a:ext cx="20525" cy="14450"/>
            </a:xfrm>
            <a:custGeom>
              <a:avLst/>
              <a:gdLst/>
              <a:ahLst/>
              <a:cxnLst/>
              <a:rect l="l" t="t" r="r" b="b"/>
              <a:pathLst>
                <a:path w="821" h="578" extrusionOk="0">
                  <a:moveTo>
                    <a:pt x="426" y="0"/>
                  </a:moveTo>
                  <a:cubicBezTo>
                    <a:pt x="152" y="0"/>
                    <a:pt x="0" y="304"/>
                    <a:pt x="213" y="486"/>
                  </a:cubicBezTo>
                  <a:cubicBezTo>
                    <a:pt x="259" y="547"/>
                    <a:pt x="335" y="578"/>
                    <a:pt x="411" y="578"/>
                  </a:cubicBezTo>
                  <a:cubicBezTo>
                    <a:pt x="487" y="578"/>
                    <a:pt x="563" y="547"/>
                    <a:pt x="608" y="486"/>
                  </a:cubicBezTo>
                  <a:cubicBezTo>
                    <a:pt x="821" y="304"/>
                    <a:pt x="669" y="0"/>
                    <a:pt x="42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8" name="Google Shape;2708;p53"/>
            <p:cNvSpPr/>
            <p:nvPr/>
          </p:nvSpPr>
          <p:spPr>
            <a:xfrm>
              <a:off x="5427900" y="3245738"/>
              <a:ext cx="128425" cy="14450"/>
            </a:xfrm>
            <a:custGeom>
              <a:avLst/>
              <a:gdLst/>
              <a:ahLst/>
              <a:cxnLst/>
              <a:rect l="l" t="t" r="r" b="b"/>
              <a:pathLst>
                <a:path w="5137" h="578" extrusionOk="0">
                  <a:moveTo>
                    <a:pt x="304" y="0"/>
                  </a:moveTo>
                  <a:cubicBezTo>
                    <a:pt x="122" y="0"/>
                    <a:pt x="0" y="122"/>
                    <a:pt x="0" y="304"/>
                  </a:cubicBezTo>
                  <a:cubicBezTo>
                    <a:pt x="0" y="456"/>
                    <a:pt x="122" y="578"/>
                    <a:pt x="304" y="578"/>
                  </a:cubicBezTo>
                  <a:lnTo>
                    <a:pt x="4742" y="578"/>
                  </a:lnTo>
                  <a:cubicBezTo>
                    <a:pt x="5137" y="578"/>
                    <a:pt x="5137" y="0"/>
                    <a:pt x="474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9" name="Google Shape;2709;p53"/>
            <p:cNvSpPr/>
            <p:nvPr/>
          </p:nvSpPr>
          <p:spPr>
            <a:xfrm>
              <a:off x="5389900" y="3245738"/>
              <a:ext cx="15975" cy="14450"/>
            </a:xfrm>
            <a:custGeom>
              <a:avLst/>
              <a:gdLst/>
              <a:ahLst/>
              <a:cxnLst/>
              <a:rect l="l" t="t" r="r" b="b"/>
              <a:pathLst>
                <a:path w="639" h="578" extrusionOk="0">
                  <a:moveTo>
                    <a:pt x="335" y="0"/>
                  </a:moveTo>
                  <a:cubicBezTo>
                    <a:pt x="259" y="0"/>
                    <a:pt x="183" y="30"/>
                    <a:pt x="122" y="91"/>
                  </a:cubicBezTo>
                  <a:cubicBezTo>
                    <a:pt x="0" y="213"/>
                    <a:pt x="0" y="395"/>
                    <a:pt x="122" y="517"/>
                  </a:cubicBezTo>
                  <a:cubicBezTo>
                    <a:pt x="183" y="547"/>
                    <a:pt x="243" y="578"/>
                    <a:pt x="335" y="578"/>
                  </a:cubicBezTo>
                  <a:cubicBezTo>
                    <a:pt x="487" y="578"/>
                    <a:pt x="639" y="456"/>
                    <a:pt x="639" y="304"/>
                  </a:cubicBezTo>
                  <a:cubicBezTo>
                    <a:pt x="639" y="213"/>
                    <a:pt x="608" y="152"/>
                    <a:pt x="547" y="91"/>
                  </a:cubicBezTo>
                  <a:cubicBezTo>
                    <a:pt x="487" y="30"/>
                    <a:pt x="411" y="0"/>
                    <a:pt x="33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0" name="Google Shape;2710;p53"/>
            <p:cNvSpPr/>
            <p:nvPr/>
          </p:nvSpPr>
          <p:spPr>
            <a:xfrm>
              <a:off x="5684850" y="3186438"/>
              <a:ext cx="20425" cy="14475"/>
            </a:xfrm>
            <a:custGeom>
              <a:avLst/>
              <a:gdLst/>
              <a:ahLst/>
              <a:cxnLst/>
              <a:rect l="l" t="t" r="r" b="b"/>
              <a:pathLst>
                <a:path w="817" h="579" extrusionOk="0">
                  <a:moveTo>
                    <a:pt x="424" y="0"/>
                  </a:moveTo>
                  <a:cubicBezTo>
                    <a:pt x="198" y="0"/>
                    <a:pt x="0" y="279"/>
                    <a:pt x="209" y="487"/>
                  </a:cubicBezTo>
                  <a:cubicBezTo>
                    <a:pt x="269" y="548"/>
                    <a:pt x="330" y="579"/>
                    <a:pt x="421" y="579"/>
                  </a:cubicBezTo>
                  <a:cubicBezTo>
                    <a:pt x="695" y="579"/>
                    <a:pt x="816" y="275"/>
                    <a:pt x="634" y="92"/>
                  </a:cubicBezTo>
                  <a:cubicBezTo>
                    <a:pt x="569" y="27"/>
                    <a:pt x="495" y="0"/>
                    <a:pt x="42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1" name="Google Shape;2711;p53"/>
            <p:cNvSpPr/>
            <p:nvPr/>
          </p:nvSpPr>
          <p:spPr>
            <a:xfrm>
              <a:off x="5388375" y="3304988"/>
              <a:ext cx="205200" cy="15225"/>
            </a:xfrm>
            <a:custGeom>
              <a:avLst/>
              <a:gdLst/>
              <a:ahLst/>
              <a:cxnLst/>
              <a:rect l="l" t="t" r="r" b="b"/>
              <a:pathLst>
                <a:path w="8208" h="609" extrusionOk="0">
                  <a:moveTo>
                    <a:pt x="396" y="1"/>
                  </a:moveTo>
                  <a:cubicBezTo>
                    <a:pt x="0" y="1"/>
                    <a:pt x="0" y="609"/>
                    <a:pt x="396" y="609"/>
                  </a:cubicBezTo>
                  <a:lnTo>
                    <a:pt x="7812" y="609"/>
                  </a:lnTo>
                  <a:cubicBezTo>
                    <a:pt x="8207" y="609"/>
                    <a:pt x="8207" y="1"/>
                    <a:pt x="781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9F373C2-5B33-4CF3-9678-4C959F0DA7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0576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393" imgH="403" progId="TCLayout.ActiveDocument.1">
                  <p:embed/>
                </p:oleObj>
              </mc:Choice>
              <mc:Fallback>
                <p:oleObj name="think-cell Slide" r:id="rId5" imgW="393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2" name="Google Shape;2352;p47"/>
          <p:cNvSpPr txBox="1">
            <a:spLocks noGrp="1"/>
          </p:cNvSpPr>
          <p:nvPr>
            <p:ph type="title"/>
          </p:nvPr>
        </p:nvSpPr>
        <p:spPr>
          <a:xfrm>
            <a:off x="720000" y="540000"/>
            <a:ext cx="7704000" cy="32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CO" dirty="0"/>
              <a:t>Pipeline</a:t>
            </a:r>
            <a:endParaRPr dirty="0"/>
          </a:p>
        </p:txBody>
      </p:sp>
      <p:pic>
        <p:nvPicPr>
          <p:cNvPr id="2336" name="Picture 2335">
            <a:extLst>
              <a:ext uri="{FF2B5EF4-FFF2-40B4-BE49-F238E27FC236}">
                <a16:creationId xmlns:a16="http://schemas.microsoft.com/office/drawing/2014/main" id="{EF44729F-1A1A-434E-A84F-D2184CF177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104436"/>
            <a:ext cx="9144000" cy="2934628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9074D0-9577-4F8B-AB70-4BEEAC31F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825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393" imgH="403" progId="TCLayout.ActiveDocument.1">
                  <p:embed/>
                </p:oleObj>
              </mc:Choice>
              <mc:Fallback>
                <p:oleObj name="think-cell Slide" r:id="rId5" imgW="393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86" name="Google Shape;2286;p46"/>
          <p:cNvSpPr txBox="1">
            <a:spLocks noGrp="1"/>
          </p:cNvSpPr>
          <p:nvPr>
            <p:ph type="title"/>
          </p:nvPr>
        </p:nvSpPr>
        <p:spPr>
          <a:xfrm>
            <a:off x="720000" y="540000"/>
            <a:ext cx="7704000" cy="32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CO" dirty="0"/>
              <a:t>Resultados</a:t>
            </a:r>
            <a:endParaRPr dirty="0"/>
          </a:p>
        </p:txBody>
      </p:sp>
      <p:sp>
        <p:nvSpPr>
          <p:cNvPr id="2287" name="Google Shape;2287;p46"/>
          <p:cNvSpPr txBox="1">
            <a:spLocks noGrp="1"/>
          </p:cNvSpPr>
          <p:nvPr>
            <p:ph type="subTitle" idx="1"/>
          </p:nvPr>
        </p:nvSpPr>
        <p:spPr>
          <a:xfrm>
            <a:off x="6743876" y="2475500"/>
            <a:ext cx="1603800" cy="276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enus</a:t>
            </a:r>
            <a:endParaRPr/>
          </a:p>
        </p:txBody>
      </p:sp>
      <p:sp>
        <p:nvSpPr>
          <p:cNvPr id="2288" name="Google Shape;2288;p46"/>
          <p:cNvSpPr txBox="1">
            <a:spLocks noGrp="1"/>
          </p:cNvSpPr>
          <p:nvPr>
            <p:ph type="subTitle" idx="2"/>
          </p:nvPr>
        </p:nvSpPr>
        <p:spPr>
          <a:xfrm>
            <a:off x="6743875" y="2752100"/>
            <a:ext cx="1603800" cy="72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nd then drag the orange handles</a:t>
            </a:r>
            <a:endParaRPr/>
          </a:p>
        </p:txBody>
      </p:sp>
      <p:sp>
        <p:nvSpPr>
          <p:cNvPr id="2289" name="Google Shape;2289;p46"/>
          <p:cNvSpPr txBox="1">
            <a:spLocks noGrp="1"/>
          </p:cNvSpPr>
          <p:nvPr>
            <p:ph type="subTitle" idx="3"/>
          </p:nvPr>
        </p:nvSpPr>
        <p:spPr>
          <a:xfrm>
            <a:off x="1384276" y="1537100"/>
            <a:ext cx="1603800" cy="276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s</a:t>
            </a:r>
            <a:endParaRPr/>
          </a:p>
        </p:txBody>
      </p:sp>
      <p:sp>
        <p:nvSpPr>
          <p:cNvPr id="2290" name="Google Shape;2290;p46"/>
          <p:cNvSpPr txBox="1">
            <a:spLocks noGrp="1"/>
          </p:cNvSpPr>
          <p:nvPr>
            <p:ph type="subTitle" idx="4"/>
          </p:nvPr>
        </p:nvSpPr>
        <p:spPr>
          <a:xfrm>
            <a:off x="1384275" y="1813700"/>
            <a:ext cx="1603800" cy="72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f you want to change the size of the graphs,</a:t>
            </a:r>
            <a:endParaRPr/>
          </a:p>
        </p:txBody>
      </p:sp>
      <p:sp>
        <p:nvSpPr>
          <p:cNvPr id="2291" name="Google Shape;2291;p46"/>
          <p:cNvSpPr txBox="1">
            <a:spLocks noGrp="1"/>
          </p:cNvSpPr>
          <p:nvPr>
            <p:ph type="subTitle" idx="5"/>
          </p:nvPr>
        </p:nvSpPr>
        <p:spPr>
          <a:xfrm>
            <a:off x="720000" y="3084550"/>
            <a:ext cx="1603800" cy="276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cury</a:t>
            </a:r>
            <a:endParaRPr/>
          </a:p>
        </p:txBody>
      </p:sp>
      <p:sp>
        <p:nvSpPr>
          <p:cNvPr id="2292" name="Google Shape;2292;p46"/>
          <p:cNvSpPr txBox="1">
            <a:spLocks noGrp="1"/>
          </p:cNvSpPr>
          <p:nvPr>
            <p:ph type="subTitle" idx="6"/>
          </p:nvPr>
        </p:nvSpPr>
        <p:spPr>
          <a:xfrm>
            <a:off x="720000" y="3361150"/>
            <a:ext cx="1603800" cy="72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elect the blue part of the circle</a:t>
            </a:r>
            <a:endParaRPr/>
          </a:p>
        </p:txBody>
      </p:sp>
      <p:sp>
        <p:nvSpPr>
          <p:cNvPr id="2293" name="Google Shape;2293;p46"/>
          <p:cNvSpPr txBox="1">
            <a:spLocks noGrp="1"/>
          </p:cNvSpPr>
          <p:nvPr>
            <p:ph type="title" idx="8"/>
          </p:nvPr>
        </p:nvSpPr>
        <p:spPr>
          <a:xfrm>
            <a:off x="3757467" y="1983234"/>
            <a:ext cx="714600" cy="52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27%</a:t>
            </a:r>
            <a:endParaRPr/>
          </a:p>
        </p:txBody>
      </p:sp>
      <p:sp>
        <p:nvSpPr>
          <p:cNvPr id="2294" name="Google Shape;2294;p46"/>
          <p:cNvSpPr/>
          <p:nvPr/>
        </p:nvSpPr>
        <p:spPr>
          <a:xfrm rot="-5400000" flipH="1">
            <a:off x="3265708" y="1398237"/>
            <a:ext cx="1698000" cy="1698000"/>
          </a:xfrm>
          <a:prstGeom prst="blockArc">
            <a:avLst>
              <a:gd name="adj1" fmla="val 5132446"/>
              <a:gd name="adj2" fmla="val 10860307"/>
              <a:gd name="adj3" fmla="val 3235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95" name="Google Shape;2295;p46"/>
          <p:cNvSpPr txBox="1">
            <a:spLocks noGrp="1"/>
          </p:cNvSpPr>
          <p:nvPr>
            <p:ph type="title" idx="9"/>
          </p:nvPr>
        </p:nvSpPr>
        <p:spPr>
          <a:xfrm>
            <a:off x="2840762" y="3167156"/>
            <a:ext cx="714600" cy="52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52%</a:t>
            </a:r>
            <a:endParaRPr dirty="0"/>
          </a:p>
        </p:txBody>
      </p:sp>
      <p:sp>
        <p:nvSpPr>
          <p:cNvPr id="2296" name="Google Shape;2296;p46"/>
          <p:cNvSpPr/>
          <p:nvPr/>
        </p:nvSpPr>
        <p:spPr>
          <a:xfrm rot="-5400000" flipH="1">
            <a:off x="2587042" y="2820198"/>
            <a:ext cx="1221900" cy="1221900"/>
          </a:xfrm>
          <a:prstGeom prst="blockArc">
            <a:avLst>
              <a:gd name="adj1" fmla="val 21285652"/>
              <a:gd name="adj2" fmla="val 10860307"/>
              <a:gd name="adj3" fmla="val 3235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97" name="Google Shape;2297;p46"/>
          <p:cNvSpPr txBox="1">
            <a:spLocks noGrp="1"/>
          </p:cNvSpPr>
          <p:nvPr>
            <p:ph type="title" idx="7"/>
          </p:nvPr>
        </p:nvSpPr>
        <p:spPr>
          <a:xfrm>
            <a:off x="5273301" y="2685897"/>
            <a:ext cx="714600" cy="52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70%</a:t>
            </a:r>
            <a:endParaRPr/>
          </a:p>
        </p:txBody>
      </p:sp>
      <p:sp>
        <p:nvSpPr>
          <p:cNvPr id="2298" name="Google Shape;2298;p46"/>
          <p:cNvSpPr/>
          <p:nvPr/>
        </p:nvSpPr>
        <p:spPr>
          <a:xfrm rot="-5400000" flipH="1">
            <a:off x="4793135" y="2112335"/>
            <a:ext cx="1674900" cy="1675200"/>
          </a:xfrm>
          <a:prstGeom prst="blockArc">
            <a:avLst>
              <a:gd name="adj1" fmla="val 16821646"/>
              <a:gd name="adj2" fmla="val 10860307"/>
              <a:gd name="adj3" fmla="val 32351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99" name="Google Shape;2299;p46"/>
          <p:cNvSpPr/>
          <p:nvPr/>
        </p:nvSpPr>
        <p:spPr>
          <a:xfrm>
            <a:off x="6859822" y="4077136"/>
            <a:ext cx="13164" cy="199422"/>
          </a:xfrm>
          <a:custGeom>
            <a:avLst/>
            <a:gdLst/>
            <a:ahLst/>
            <a:cxnLst/>
            <a:rect l="l" t="t" r="r" b="b"/>
            <a:pathLst>
              <a:path w="235" h="3560" extrusionOk="0">
                <a:moveTo>
                  <a:pt x="52" y="0"/>
                </a:moveTo>
                <a:cubicBezTo>
                  <a:pt x="51" y="0"/>
                  <a:pt x="51" y="1"/>
                  <a:pt x="50" y="1"/>
                </a:cubicBezTo>
                <a:cubicBezTo>
                  <a:pt x="0" y="1"/>
                  <a:pt x="0" y="803"/>
                  <a:pt x="34" y="1788"/>
                </a:cubicBezTo>
                <a:cubicBezTo>
                  <a:pt x="67" y="2764"/>
                  <a:pt x="132" y="3560"/>
                  <a:pt x="182" y="3560"/>
                </a:cubicBezTo>
                <a:cubicBezTo>
                  <a:pt x="183" y="3560"/>
                  <a:pt x="183" y="3560"/>
                  <a:pt x="184" y="3560"/>
                </a:cubicBezTo>
                <a:cubicBezTo>
                  <a:pt x="234" y="3560"/>
                  <a:pt x="234" y="2758"/>
                  <a:pt x="201" y="1772"/>
                </a:cubicBezTo>
                <a:cubicBezTo>
                  <a:pt x="168" y="796"/>
                  <a:pt x="102" y="0"/>
                  <a:pt x="52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0" name="Google Shape;2300;p46"/>
          <p:cNvSpPr/>
          <p:nvPr/>
        </p:nvSpPr>
        <p:spPr>
          <a:xfrm rot="-148560">
            <a:off x="6876842" y="4088373"/>
            <a:ext cx="11315" cy="199366"/>
          </a:xfrm>
          <a:custGeom>
            <a:avLst/>
            <a:gdLst/>
            <a:ahLst/>
            <a:cxnLst/>
            <a:rect l="l" t="t" r="r" b="b"/>
            <a:pathLst>
              <a:path w="202" h="3559" extrusionOk="0">
                <a:moveTo>
                  <a:pt x="68" y="0"/>
                </a:moveTo>
                <a:cubicBezTo>
                  <a:pt x="17" y="0"/>
                  <a:pt x="1" y="802"/>
                  <a:pt x="17" y="1788"/>
                </a:cubicBezTo>
                <a:cubicBezTo>
                  <a:pt x="34" y="2774"/>
                  <a:pt x="84" y="3559"/>
                  <a:pt x="134" y="3559"/>
                </a:cubicBezTo>
                <a:cubicBezTo>
                  <a:pt x="184" y="3559"/>
                  <a:pt x="201" y="2757"/>
                  <a:pt x="184" y="1771"/>
                </a:cubicBezTo>
                <a:cubicBezTo>
                  <a:pt x="168" y="802"/>
                  <a:pt x="101" y="0"/>
                  <a:pt x="68" y="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301" name="Google Shape;2301;p46"/>
          <p:cNvGrpSpPr/>
          <p:nvPr/>
        </p:nvGrpSpPr>
        <p:grpSpPr>
          <a:xfrm>
            <a:off x="3378118" y="2711183"/>
            <a:ext cx="2576904" cy="1962927"/>
            <a:chOff x="303700" y="238475"/>
            <a:chExt cx="6849825" cy="5217775"/>
          </a:xfrm>
        </p:grpSpPr>
        <p:sp>
          <p:nvSpPr>
            <p:cNvPr id="2302" name="Google Shape;2302;p46"/>
            <p:cNvSpPr/>
            <p:nvPr/>
          </p:nvSpPr>
          <p:spPr>
            <a:xfrm>
              <a:off x="1082925" y="2507525"/>
              <a:ext cx="2946975" cy="2948725"/>
            </a:xfrm>
            <a:custGeom>
              <a:avLst/>
              <a:gdLst/>
              <a:ahLst/>
              <a:cxnLst/>
              <a:rect l="l" t="t" r="r" b="b"/>
              <a:pathLst>
                <a:path w="117879" h="117949" extrusionOk="0">
                  <a:moveTo>
                    <a:pt x="63315" y="1"/>
                  </a:moveTo>
                  <a:cubicBezTo>
                    <a:pt x="59699" y="1"/>
                    <a:pt x="56080" y="128"/>
                    <a:pt x="52465" y="380"/>
                  </a:cubicBezTo>
                  <a:cubicBezTo>
                    <a:pt x="52465" y="380"/>
                    <a:pt x="52094" y="365"/>
                    <a:pt x="51417" y="365"/>
                  </a:cubicBezTo>
                  <a:cubicBezTo>
                    <a:pt x="46330" y="365"/>
                    <a:pt x="23990" y="1209"/>
                    <a:pt x="12742" y="15598"/>
                  </a:cubicBezTo>
                  <a:lnTo>
                    <a:pt x="0" y="39019"/>
                  </a:lnTo>
                  <a:lnTo>
                    <a:pt x="25381" y="64452"/>
                  </a:lnTo>
                  <a:lnTo>
                    <a:pt x="38846" y="117949"/>
                  </a:lnTo>
                  <a:lnTo>
                    <a:pt x="117878" y="116349"/>
                  </a:lnTo>
                  <a:lnTo>
                    <a:pt x="114783" y="73583"/>
                  </a:lnTo>
                  <a:lnTo>
                    <a:pt x="111894" y="21118"/>
                  </a:lnTo>
                  <a:cubicBezTo>
                    <a:pt x="111894" y="21118"/>
                    <a:pt x="113648" y="6931"/>
                    <a:pt x="92239" y="2753"/>
                  </a:cubicBezTo>
                  <a:cubicBezTo>
                    <a:pt x="82695" y="912"/>
                    <a:pt x="73014" y="1"/>
                    <a:pt x="6331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3" name="Google Shape;2303;p46"/>
            <p:cNvSpPr/>
            <p:nvPr/>
          </p:nvSpPr>
          <p:spPr>
            <a:xfrm>
              <a:off x="303700" y="3192800"/>
              <a:ext cx="2588675" cy="2223525"/>
            </a:xfrm>
            <a:custGeom>
              <a:avLst/>
              <a:gdLst/>
              <a:ahLst/>
              <a:cxnLst/>
              <a:rect l="l" t="t" r="r" b="b"/>
              <a:pathLst>
                <a:path w="103547" h="88941" extrusionOk="0">
                  <a:moveTo>
                    <a:pt x="37514" y="1"/>
                  </a:moveTo>
                  <a:lnTo>
                    <a:pt x="7232" y="56077"/>
                  </a:lnTo>
                  <a:cubicBezTo>
                    <a:pt x="0" y="71361"/>
                    <a:pt x="11177" y="88940"/>
                    <a:pt x="28037" y="88940"/>
                  </a:cubicBezTo>
                  <a:cubicBezTo>
                    <a:pt x="28135" y="88940"/>
                    <a:pt x="28233" y="88940"/>
                    <a:pt x="28332" y="88938"/>
                  </a:cubicBezTo>
                  <a:lnTo>
                    <a:pt x="99059" y="88061"/>
                  </a:lnTo>
                  <a:lnTo>
                    <a:pt x="103547" y="58656"/>
                  </a:lnTo>
                  <a:lnTo>
                    <a:pt x="46284" y="57625"/>
                  </a:lnTo>
                  <a:lnTo>
                    <a:pt x="65062" y="18624"/>
                  </a:lnTo>
                  <a:lnTo>
                    <a:pt x="3751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4" name="Google Shape;2304;p46"/>
            <p:cNvSpPr/>
            <p:nvPr/>
          </p:nvSpPr>
          <p:spPr>
            <a:xfrm>
              <a:off x="3817075" y="2821375"/>
              <a:ext cx="1419975" cy="2246675"/>
            </a:xfrm>
            <a:custGeom>
              <a:avLst/>
              <a:gdLst/>
              <a:ahLst/>
              <a:cxnLst/>
              <a:rect l="l" t="t" r="r" b="b"/>
              <a:pathLst>
                <a:path w="56799" h="89867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2"/>
                    <a:pt x="5059" y="59344"/>
                    <a:pt x="4356" y="59344"/>
                  </a:cubicBezTo>
                  <a:cubicBezTo>
                    <a:pt x="4349" y="59344"/>
                    <a:pt x="4342" y="59338"/>
                    <a:pt x="4334" y="59327"/>
                  </a:cubicBezTo>
                  <a:cubicBezTo>
                    <a:pt x="4329" y="59319"/>
                    <a:pt x="4326" y="59316"/>
                    <a:pt x="4326" y="59316"/>
                  </a:cubicBezTo>
                  <a:lnTo>
                    <a:pt x="4326" y="59316"/>
                  </a:lnTo>
                  <a:cubicBezTo>
                    <a:pt x="4288" y="59316"/>
                    <a:pt x="23679" y="89867"/>
                    <a:pt x="23679" y="89867"/>
                  </a:cubicBezTo>
                  <a:lnTo>
                    <a:pt x="56798" y="8770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5" name="Google Shape;2305;p46"/>
            <p:cNvSpPr/>
            <p:nvPr/>
          </p:nvSpPr>
          <p:spPr>
            <a:xfrm>
              <a:off x="1660700" y="2777525"/>
              <a:ext cx="317275" cy="1007275"/>
            </a:xfrm>
            <a:custGeom>
              <a:avLst/>
              <a:gdLst/>
              <a:ahLst/>
              <a:cxnLst/>
              <a:rect l="l" t="t" r="r" b="b"/>
              <a:pathLst>
                <a:path w="12691" h="40291" extrusionOk="0">
                  <a:moveTo>
                    <a:pt x="0" y="1"/>
                  </a:moveTo>
                  <a:cubicBezTo>
                    <a:pt x="413" y="413"/>
                    <a:pt x="877" y="774"/>
                    <a:pt x="1342" y="1135"/>
                  </a:cubicBezTo>
                  <a:cubicBezTo>
                    <a:pt x="2580" y="2167"/>
                    <a:pt x="3715" y="3302"/>
                    <a:pt x="4798" y="4489"/>
                  </a:cubicBezTo>
                  <a:cubicBezTo>
                    <a:pt x="6397" y="6191"/>
                    <a:pt x="7790" y="8100"/>
                    <a:pt x="8977" y="10163"/>
                  </a:cubicBezTo>
                  <a:cubicBezTo>
                    <a:pt x="10473" y="12640"/>
                    <a:pt x="11453" y="15374"/>
                    <a:pt x="11917" y="18211"/>
                  </a:cubicBezTo>
                  <a:cubicBezTo>
                    <a:pt x="12278" y="21100"/>
                    <a:pt x="12227" y="23989"/>
                    <a:pt x="11917" y="26878"/>
                  </a:cubicBezTo>
                  <a:cubicBezTo>
                    <a:pt x="11608" y="29509"/>
                    <a:pt x="11195" y="31882"/>
                    <a:pt x="10782" y="33842"/>
                  </a:cubicBezTo>
                  <a:cubicBezTo>
                    <a:pt x="10370" y="35854"/>
                    <a:pt x="10008" y="37453"/>
                    <a:pt x="9750" y="38537"/>
                  </a:cubicBezTo>
                  <a:cubicBezTo>
                    <a:pt x="9596" y="39053"/>
                    <a:pt x="9544" y="39465"/>
                    <a:pt x="9441" y="39826"/>
                  </a:cubicBezTo>
                  <a:cubicBezTo>
                    <a:pt x="9389" y="39981"/>
                    <a:pt x="9389" y="40136"/>
                    <a:pt x="9338" y="40291"/>
                  </a:cubicBezTo>
                  <a:cubicBezTo>
                    <a:pt x="9441" y="40136"/>
                    <a:pt x="9493" y="39981"/>
                    <a:pt x="9544" y="39826"/>
                  </a:cubicBezTo>
                  <a:cubicBezTo>
                    <a:pt x="9596" y="39568"/>
                    <a:pt x="9750" y="39156"/>
                    <a:pt x="9905" y="38588"/>
                  </a:cubicBezTo>
                  <a:cubicBezTo>
                    <a:pt x="10215" y="37505"/>
                    <a:pt x="10627" y="35906"/>
                    <a:pt x="11092" y="33945"/>
                  </a:cubicBezTo>
                  <a:cubicBezTo>
                    <a:pt x="11608" y="31624"/>
                    <a:pt x="12020" y="29251"/>
                    <a:pt x="12278" y="26878"/>
                  </a:cubicBezTo>
                  <a:cubicBezTo>
                    <a:pt x="12691" y="23989"/>
                    <a:pt x="12691" y="21048"/>
                    <a:pt x="12381" y="18159"/>
                  </a:cubicBezTo>
                  <a:cubicBezTo>
                    <a:pt x="11917" y="15219"/>
                    <a:pt x="10885" y="12433"/>
                    <a:pt x="9338" y="9957"/>
                  </a:cubicBezTo>
                  <a:cubicBezTo>
                    <a:pt x="8100" y="7894"/>
                    <a:pt x="6655" y="5985"/>
                    <a:pt x="5004" y="4231"/>
                  </a:cubicBezTo>
                  <a:cubicBezTo>
                    <a:pt x="3921" y="3096"/>
                    <a:pt x="2735" y="2012"/>
                    <a:pt x="1445" y="981"/>
                  </a:cubicBezTo>
                  <a:cubicBezTo>
                    <a:pt x="1032" y="620"/>
                    <a:pt x="619" y="413"/>
                    <a:pt x="413" y="207"/>
                  </a:cubicBezTo>
                  <a:cubicBezTo>
                    <a:pt x="310" y="104"/>
                    <a:pt x="155" y="52"/>
                    <a:pt x="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6" name="Google Shape;2306;p46"/>
            <p:cNvSpPr/>
            <p:nvPr/>
          </p:nvSpPr>
          <p:spPr>
            <a:xfrm>
              <a:off x="1458225" y="3859575"/>
              <a:ext cx="379175" cy="773850"/>
            </a:xfrm>
            <a:custGeom>
              <a:avLst/>
              <a:gdLst/>
              <a:ahLst/>
              <a:cxnLst/>
              <a:rect l="l" t="t" r="r" b="b"/>
              <a:pathLst>
                <a:path w="15167" h="30954" extrusionOk="0">
                  <a:moveTo>
                    <a:pt x="15167" y="1"/>
                  </a:moveTo>
                  <a:cubicBezTo>
                    <a:pt x="14961" y="413"/>
                    <a:pt x="14703" y="775"/>
                    <a:pt x="14548" y="1187"/>
                  </a:cubicBezTo>
                  <a:cubicBezTo>
                    <a:pt x="14135" y="2064"/>
                    <a:pt x="13568" y="3199"/>
                    <a:pt x="12949" y="4541"/>
                  </a:cubicBezTo>
                  <a:cubicBezTo>
                    <a:pt x="11556" y="7429"/>
                    <a:pt x="9647" y="11247"/>
                    <a:pt x="7635" y="15529"/>
                  </a:cubicBezTo>
                  <a:lnTo>
                    <a:pt x="2167" y="26414"/>
                  </a:lnTo>
                  <a:lnTo>
                    <a:pt x="516" y="29715"/>
                  </a:lnTo>
                  <a:cubicBezTo>
                    <a:pt x="310" y="30128"/>
                    <a:pt x="155" y="30541"/>
                    <a:pt x="0" y="30954"/>
                  </a:cubicBezTo>
                  <a:cubicBezTo>
                    <a:pt x="258" y="30592"/>
                    <a:pt x="464" y="30231"/>
                    <a:pt x="671" y="29819"/>
                  </a:cubicBezTo>
                  <a:cubicBezTo>
                    <a:pt x="1135" y="29045"/>
                    <a:pt x="1702" y="27961"/>
                    <a:pt x="2476" y="26569"/>
                  </a:cubicBezTo>
                  <a:cubicBezTo>
                    <a:pt x="3921" y="23834"/>
                    <a:pt x="5881" y="19965"/>
                    <a:pt x="7996" y="15684"/>
                  </a:cubicBezTo>
                  <a:cubicBezTo>
                    <a:pt x="10111" y="11402"/>
                    <a:pt x="11917" y="7533"/>
                    <a:pt x="13207" y="4644"/>
                  </a:cubicBezTo>
                  <a:cubicBezTo>
                    <a:pt x="13826" y="3251"/>
                    <a:pt x="14342" y="2064"/>
                    <a:pt x="14703" y="1290"/>
                  </a:cubicBezTo>
                  <a:cubicBezTo>
                    <a:pt x="14909" y="878"/>
                    <a:pt x="15064" y="465"/>
                    <a:pt x="1516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7" name="Google Shape;2307;p46"/>
            <p:cNvSpPr/>
            <p:nvPr/>
          </p:nvSpPr>
          <p:spPr>
            <a:xfrm>
              <a:off x="1057125" y="4624375"/>
              <a:ext cx="1819775" cy="769975"/>
            </a:xfrm>
            <a:custGeom>
              <a:avLst/>
              <a:gdLst/>
              <a:ahLst/>
              <a:cxnLst/>
              <a:rect l="l" t="t" r="r" b="b"/>
              <a:pathLst>
                <a:path w="72791" h="30799" extrusionOk="0">
                  <a:moveTo>
                    <a:pt x="51691" y="0"/>
                  </a:moveTo>
                  <a:lnTo>
                    <a:pt x="15116" y="52"/>
                  </a:lnTo>
                  <a:cubicBezTo>
                    <a:pt x="10473" y="104"/>
                    <a:pt x="6707" y="104"/>
                    <a:pt x="4024" y="155"/>
                  </a:cubicBezTo>
                  <a:lnTo>
                    <a:pt x="1032" y="155"/>
                  </a:lnTo>
                  <a:lnTo>
                    <a:pt x="258" y="207"/>
                  </a:lnTo>
                  <a:lnTo>
                    <a:pt x="0" y="207"/>
                  </a:lnTo>
                  <a:cubicBezTo>
                    <a:pt x="52" y="258"/>
                    <a:pt x="155" y="258"/>
                    <a:pt x="258" y="258"/>
                  </a:cubicBezTo>
                  <a:lnTo>
                    <a:pt x="1032" y="258"/>
                  </a:lnTo>
                  <a:cubicBezTo>
                    <a:pt x="1754" y="258"/>
                    <a:pt x="2734" y="310"/>
                    <a:pt x="4024" y="310"/>
                  </a:cubicBezTo>
                  <a:cubicBezTo>
                    <a:pt x="6707" y="310"/>
                    <a:pt x="10473" y="362"/>
                    <a:pt x="15116" y="362"/>
                  </a:cubicBezTo>
                  <a:cubicBezTo>
                    <a:pt x="24504" y="413"/>
                    <a:pt x="37401" y="413"/>
                    <a:pt x="51691" y="413"/>
                  </a:cubicBezTo>
                  <a:lnTo>
                    <a:pt x="72354" y="413"/>
                  </a:lnTo>
                  <a:cubicBezTo>
                    <a:pt x="71333" y="9300"/>
                    <a:pt x="70465" y="16860"/>
                    <a:pt x="69850" y="22286"/>
                  </a:cubicBezTo>
                  <a:cubicBezTo>
                    <a:pt x="69541" y="24917"/>
                    <a:pt x="69283" y="27084"/>
                    <a:pt x="69128" y="28580"/>
                  </a:cubicBezTo>
                  <a:cubicBezTo>
                    <a:pt x="69076" y="29251"/>
                    <a:pt x="69025" y="29818"/>
                    <a:pt x="68973" y="30231"/>
                  </a:cubicBezTo>
                  <a:cubicBezTo>
                    <a:pt x="68973" y="30386"/>
                    <a:pt x="68973" y="30540"/>
                    <a:pt x="68922" y="30644"/>
                  </a:cubicBezTo>
                  <a:cubicBezTo>
                    <a:pt x="68922" y="30695"/>
                    <a:pt x="68922" y="30747"/>
                    <a:pt x="68922" y="30798"/>
                  </a:cubicBezTo>
                  <a:cubicBezTo>
                    <a:pt x="68973" y="30747"/>
                    <a:pt x="68973" y="30695"/>
                    <a:pt x="68973" y="30644"/>
                  </a:cubicBezTo>
                  <a:cubicBezTo>
                    <a:pt x="68973" y="30540"/>
                    <a:pt x="69025" y="30386"/>
                    <a:pt x="69025" y="30231"/>
                  </a:cubicBezTo>
                  <a:cubicBezTo>
                    <a:pt x="69076" y="29818"/>
                    <a:pt x="69180" y="29302"/>
                    <a:pt x="69283" y="28580"/>
                  </a:cubicBezTo>
                  <a:cubicBezTo>
                    <a:pt x="69437" y="27084"/>
                    <a:pt x="69747" y="24969"/>
                    <a:pt x="70057" y="22286"/>
                  </a:cubicBezTo>
                  <a:cubicBezTo>
                    <a:pt x="70727" y="16870"/>
                    <a:pt x="71656" y="9235"/>
                    <a:pt x="72791" y="258"/>
                  </a:cubicBezTo>
                  <a:lnTo>
                    <a:pt x="72791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8" name="Google Shape;2308;p46"/>
            <p:cNvSpPr/>
            <p:nvPr/>
          </p:nvSpPr>
          <p:spPr>
            <a:xfrm>
              <a:off x="1182225" y="4402550"/>
              <a:ext cx="290200" cy="246350"/>
            </a:xfrm>
            <a:custGeom>
              <a:avLst/>
              <a:gdLst/>
              <a:ahLst/>
              <a:cxnLst/>
              <a:rect l="l" t="t" r="r" b="b"/>
              <a:pathLst>
                <a:path w="11608" h="9854" extrusionOk="0">
                  <a:moveTo>
                    <a:pt x="0" y="0"/>
                  </a:moveTo>
                  <a:cubicBezTo>
                    <a:pt x="619" y="413"/>
                    <a:pt x="1290" y="774"/>
                    <a:pt x="1961" y="1135"/>
                  </a:cubicBezTo>
                  <a:cubicBezTo>
                    <a:pt x="3560" y="2012"/>
                    <a:pt x="5056" y="3044"/>
                    <a:pt x="6449" y="4179"/>
                  </a:cubicBezTo>
                  <a:cubicBezTo>
                    <a:pt x="7790" y="5365"/>
                    <a:pt x="9080" y="6655"/>
                    <a:pt x="10215" y="8048"/>
                  </a:cubicBezTo>
                  <a:cubicBezTo>
                    <a:pt x="10627" y="8667"/>
                    <a:pt x="11143" y="9286"/>
                    <a:pt x="11608" y="9854"/>
                  </a:cubicBezTo>
                  <a:cubicBezTo>
                    <a:pt x="11350" y="9131"/>
                    <a:pt x="10937" y="8461"/>
                    <a:pt x="10473" y="7893"/>
                  </a:cubicBezTo>
                  <a:cubicBezTo>
                    <a:pt x="8306" y="4901"/>
                    <a:pt x="5417" y="2477"/>
                    <a:pt x="2115" y="826"/>
                  </a:cubicBezTo>
                  <a:cubicBezTo>
                    <a:pt x="1445" y="465"/>
                    <a:pt x="723" y="207"/>
                    <a:pt x="0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9" name="Google Shape;2309;p46"/>
            <p:cNvSpPr/>
            <p:nvPr/>
          </p:nvSpPr>
          <p:spPr>
            <a:xfrm>
              <a:off x="3871225" y="2989025"/>
              <a:ext cx="110950" cy="1797875"/>
            </a:xfrm>
            <a:custGeom>
              <a:avLst/>
              <a:gdLst/>
              <a:ahLst/>
              <a:cxnLst/>
              <a:rect l="l" t="t" r="r" b="b"/>
              <a:pathLst>
                <a:path w="4438" h="71915" extrusionOk="0">
                  <a:moveTo>
                    <a:pt x="53" y="1"/>
                  </a:moveTo>
                  <a:cubicBezTo>
                    <a:pt x="1" y="207"/>
                    <a:pt x="1" y="465"/>
                    <a:pt x="1" y="723"/>
                  </a:cubicBezTo>
                  <a:cubicBezTo>
                    <a:pt x="1" y="1239"/>
                    <a:pt x="53" y="1910"/>
                    <a:pt x="53" y="2787"/>
                  </a:cubicBezTo>
                  <a:cubicBezTo>
                    <a:pt x="104" y="4644"/>
                    <a:pt x="156" y="7275"/>
                    <a:pt x="259" y="10525"/>
                  </a:cubicBezTo>
                  <a:cubicBezTo>
                    <a:pt x="517" y="17077"/>
                    <a:pt x="930" y="26053"/>
                    <a:pt x="1497" y="36009"/>
                  </a:cubicBezTo>
                  <a:cubicBezTo>
                    <a:pt x="2116" y="45914"/>
                    <a:pt x="2787" y="54942"/>
                    <a:pt x="3354" y="61442"/>
                  </a:cubicBezTo>
                  <a:cubicBezTo>
                    <a:pt x="3612" y="64692"/>
                    <a:pt x="3870" y="67323"/>
                    <a:pt x="4076" y="69129"/>
                  </a:cubicBezTo>
                  <a:cubicBezTo>
                    <a:pt x="4180" y="70006"/>
                    <a:pt x="4231" y="70676"/>
                    <a:pt x="4334" y="71192"/>
                  </a:cubicBezTo>
                  <a:cubicBezTo>
                    <a:pt x="4334" y="71450"/>
                    <a:pt x="4386" y="71708"/>
                    <a:pt x="4437" y="71914"/>
                  </a:cubicBezTo>
                  <a:cubicBezTo>
                    <a:pt x="4437" y="71708"/>
                    <a:pt x="4437" y="71450"/>
                    <a:pt x="4386" y="71192"/>
                  </a:cubicBezTo>
                  <a:cubicBezTo>
                    <a:pt x="4386" y="70676"/>
                    <a:pt x="4334" y="70006"/>
                    <a:pt x="4231" y="69129"/>
                  </a:cubicBezTo>
                  <a:cubicBezTo>
                    <a:pt x="4128" y="67220"/>
                    <a:pt x="3922" y="64641"/>
                    <a:pt x="3664" y="61391"/>
                  </a:cubicBezTo>
                  <a:cubicBezTo>
                    <a:pt x="3148" y="54890"/>
                    <a:pt x="2529" y="45914"/>
                    <a:pt x="1961" y="35958"/>
                  </a:cubicBezTo>
                  <a:cubicBezTo>
                    <a:pt x="1342" y="26053"/>
                    <a:pt x="930" y="17025"/>
                    <a:pt x="568" y="10525"/>
                  </a:cubicBezTo>
                  <a:cubicBezTo>
                    <a:pt x="414" y="7275"/>
                    <a:pt x="310" y="4644"/>
                    <a:pt x="207" y="2787"/>
                  </a:cubicBezTo>
                  <a:cubicBezTo>
                    <a:pt x="156" y="1910"/>
                    <a:pt x="104" y="1239"/>
                    <a:pt x="104" y="723"/>
                  </a:cubicBezTo>
                  <a:cubicBezTo>
                    <a:pt x="104" y="465"/>
                    <a:pt x="53" y="207"/>
                    <a:pt x="5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0" name="Google Shape;2310;p46"/>
            <p:cNvSpPr/>
            <p:nvPr/>
          </p:nvSpPr>
          <p:spPr>
            <a:xfrm>
              <a:off x="2175275" y="3026450"/>
              <a:ext cx="287650" cy="568775"/>
            </a:xfrm>
            <a:custGeom>
              <a:avLst/>
              <a:gdLst/>
              <a:ahLst/>
              <a:cxnLst/>
              <a:rect l="l" t="t" r="r" b="b"/>
              <a:pathLst>
                <a:path w="11506" h="22751" extrusionOk="0">
                  <a:moveTo>
                    <a:pt x="2477" y="0"/>
                  </a:moveTo>
                  <a:lnTo>
                    <a:pt x="2477" y="0"/>
                  </a:lnTo>
                  <a:cubicBezTo>
                    <a:pt x="2374" y="361"/>
                    <a:pt x="2322" y="722"/>
                    <a:pt x="2271" y="1135"/>
                  </a:cubicBezTo>
                  <a:cubicBezTo>
                    <a:pt x="2116" y="1909"/>
                    <a:pt x="1961" y="2941"/>
                    <a:pt x="1755" y="4230"/>
                  </a:cubicBezTo>
                  <a:cubicBezTo>
                    <a:pt x="1342" y="6964"/>
                    <a:pt x="775" y="10730"/>
                    <a:pt x="104" y="15115"/>
                  </a:cubicBezTo>
                  <a:lnTo>
                    <a:pt x="1" y="15580"/>
                  </a:lnTo>
                  <a:lnTo>
                    <a:pt x="414" y="15322"/>
                  </a:lnTo>
                  <a:cubicBezTo>
                    <a:pt x="2116" y="14084"/>
                    <a:pt x="3973" y="12794"/>
                    <a:pt x="5934" y="11453"/>
                  </a:cubicBezTo>
                  <a:cubicBezTo>
                    <a:pt x="7705" y="10208"/>
                    <a:pt x="9388" y="9007"/>
                    <a:pt x="10982" y="7933"/>
                  </a:cubicBezTo>
                  <a:lnTo>
                    <a:pt x="10982" y="7933"/>
                  </a:lnTo>
                  <a:cubicBezTo>
                    <a:pt x="10438" y="12125"/>
                    <a:pt x="9945" y="15728"/>
                    <a:pt x="9596" y="18417"/>
                  </a:cubicBezTo>
                  <a:cubicBezTo>
                    <a:pt x="9442" y="19707"/>
                    <a:pt x="9287" y="20790"/>
                    <a:pt x="9184" y="21615"/>
                  </a:cubicBezTo>
                  <a:cubicBezTo>
                    <a:pt x="9132" y="21976"/>
                    <a:pt x="9080" y="22338"/>
                    <a:pt x="9132" y="22750"/>
                  </a:cubicBezTo>
                  <a:cubicBezTo>
                    <a:pt x="9235" y="22389"/>
                    <a:pt x="9287" y="21976"/>
                    <a:pt x="9338" y="21615"/>
                  </a:cubicBezTo>
                  <a:cubicBezTo>
                    <a:pt x="9442" y="20790"/>
                    <a:pt x="9648" y="19758"/>
                    <a:pt x="9854" y="18468"/>
                  </a:cubicBezTo>
                  <a:cubicBezTo>
                    <a:pt x="10267" y="15683"/>
                    <a:pt x="10783" y="11917"/>
                    <a:pt x="11453" y="7532"/>
                  </a:cubicBezTo>
                  <a:lnTo>
                    <a:pt x="11505" y="7068"/>
                  </a:lnTo>
                  <a:lnTo>
                    <a:pt x="11505" y="7068"/>
                  </a:lnTo>
                  <a:lnTo>
                    <a:pt x="11144" y="7325"/>
                  </a:lnTo>
                  <a:cubicBezTo>
                    <a:pt x="9442" y="8512"/>
                    <a:pt x="7584" y="9802"/>
                    <a:pt x="5676" y="11091"/>
                  </a:cubicBezTo>
                  <a:lnTo>
                    <a:pt x="582" y="14661"/>
                  </a:lnTo>
                  <a:lnTo>
                    <a:pt x="582" y="14661"/>
                  </a:lnTo>
                  <a:cubicBezTo>
                    <a:pt x="1124" y="10492"/>
                    <a:pt x="1616" y="6910"/>
                    <a:pt x="2013" y="4282"/>
                  </a:cubicBezTo>
                  <a:cubicBezTo>
                    <a:pt x="2168" y="2992"/>
                    <a:pt x="2322" y="1909"/>
                    <a:pt x="2426" y="1135"/>
                  </a:cubicBezTo>
                  <a:cubicBezTo>
                    <a:pt x="2477" y="774"/>
                    <a:pt x="2477" y="361"/>
                    <a:pt x="2477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1" name="Google Shape;2311;p46"/>
            <p:cNvSpPr/>
            <p:nvPr/>
          </p:nvSpPr>
          <p:spPr>
            <a:xfrm>
              <a:off x="2649900" y="3382400"/>
              <a:ext cx="542975" cy="358550"/>
            </a:xfrm>
            <a:custGeom>
              <a:avLst/>
              <a:gdLst/>
              <a:ahLst/>
              <a:cxnLst/>
              <a:rect l="l" t="t" r="r" b="b"/>
              <a:pathLst>
                <a:path w="21719" h="14342" extrusionOk="0">
                  <a:moveTo>
                    <a:pt x="11195" y="0"/>
                  </a:moveTo>
                  <a:lnTo>
                    <a:pt x="11143" y="516"/>
                  </a:lnTo>
                  <a:cubicBezTo>
                    <a:pt x="10937" y="2580"/>
                    <a:pt x="10782" y="4798"/>
                    <a:pt x="10576" y="7119"/>
                  </a:cubicBezTo>
                  <a:cubicBezTo>
                    <a:pt x="10386" y="9257"/>
                    <a:pt x="10196" y="11350"/>
                    <a:pt x="10046" y="13320"/>
                  </a:cubicBezTo>
                  <a:lnTo>
                    <a:pt x="10046" y="13320"/>
                  </a:lnTo>
                  <a:cubicBezTo>
                    <a:pt x="7195" y="10220"/>
                    <a:pt x="4780" y="7561"/>
                    <a:pt x="2941" y="5572"/>
                  </a:cubicBezTo>
                  <a:cubicBezTo>
                    <a:pt x="2064" y="4592"/>
                    <a:pt x="1342" y="3818"/>
                    <a:pt x="774" y="3250"/>
                  </a:cubicBezTo>
                  <a:cubicBezTo>
                    <a:pt x="568" y="2941"/>
                    <a:pt x="258" y="2683"/>
                    <a:pt x="0" y="2425"/>
                  </a:cubicBezTo>
                  <a:lnTo>
                    <a:pt x="0" y="2425"/>
                  </a:lnTo>
                  <a:cubicBezTo>
                    <a:pt x="207" y="2786"/>
                    <a:pt x="413" y="3044"/>
                    <a:pt x="671" y="3353"/>
                  </a:cubicBezTo>
                  <a:cubicBezTo>
                    <a:pt x="1238" y="3973"/>
                    <a:pt x="1909" y="4746"/>
                    <a:pt x="2786" y="5727"/>
                  </a:cubicBezTo>
                  <a:cubicBezTo>
                    <a:pt x="4592" y="7842"/>
                    <a:pt x="7119" y="10679"/>
                    <a:pt x="10060" y="13981"/>
                  </a:cubicBezTo>
                  <a:lnTo>
                    <a:pt x="10369" y="14342"/>
                  </a:lnTo>
                  <a:lnTo>
                    <a:pt x="10421" y="13826"/>
                  </a:lnTo>
                  <a:cubicBezTo>
                    <a:pt x="10627" y="11762"/>
                    <a:pt x="10782" y="9492"/>
                    <a:pt x="10988" y="7119"/>
                  </a:cubicBezTo>
                  <a:cubicBezTo>
                    <a:pt x="11178" y="4986"/>
                    <a:pt x="11368" y="2939"/>
                    <a:pt x="11517" y="1020"/>
                  </a:cubicBezTo>
                  <a:lnTo>
                    <a:pt x="11517" y="1020"/>
                  </a:lnTo>
                  <a:lnTo>
                    <a:pt x="18675" y="8770"/>
                  </a:lnTo>
                  <a:cubicBezTo>
                    <a:pt x="19604" y="9750"/>
                    <a:pt x="20326" y="10524"/>
                    <a:pt x="20893" y="11092"/>
                  </a:cubicBezTo>
                  <a:cubicBezTo>
                    <a:pt x="21151" y="11401"/>
                    <a:pt x="21409" y="11659"/>
                    <a:pt x="21719" y="11917"/>
                  </a:cubicBezTo>
                  <a:cubicBezTo>
                    <a:pt x="21512" y="11608"/>
                    <a:pt x="21254" y="11298"/>
                    <a:pt x="20996" y="10988"/>
                  </a:cubicBezTo>
                  <a:cubicBezTo>
                    <a:pt x="20429" y="10421"/>
                    <a:pt x="19758" y="9596"/>
                    <a:pt x="18881" y="8615"/>
                  </a:cubicBezTo>
                  <a:cubicBezTo>
                    <a:pt x="17024" y="6500"/>
                    <a:pt x="14445" y="3663"/>
                    <a:pt x="11504" y="361"/>
                  </a:cubicBezTo>
                  <a:lnTo>
                    <a:pt x="11195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2" name="Google Shape;2312;p46"/>
            <p:cNvSpPr/>
            <p:nvPr/>
          </p:nvSpPr>
          <p:spPr>
            <a:xfrm>
              <a:off x="3368250" y="3651950"/>
              <a:ext cx="350825" cy="584250"/>
            </a:xfrm>
            <a:custGeom>
              <a:avLst/>
              <a:gdLst/>
              <a:ahLst/>
              <a:cxnLst/>
              <a:rect l="l" t="t" r="r" b="b"/>
              <a:pathLst>
                <a:path w="14033" h="23370" extrusionOk="0">
                  <a:moveTo>
                    <a:pt x="8874" y="0"/>
                  </a:moveTo>
                  <a:lnTo>
                    <a:pt x="8874" y="0"/>
                  </a:lnTo>
                  <a:cubicBezTo>
                    <a:pt x="8616" y="258"/>
                    <a:pt x="8358" y="568"/>
                    <a:pt x="8152" y="929"/>
                  </a:cubicBezTo>
                  <a:lnTo>
                    <a:pt x="6398" y="3560"/>
                  </a:lnTo>
                  <a:cubicBezTo>
                    <a:pt x="4850" y="5881"/>
                    <a:pt x="2735" y="9080"/>
                    <a:pt x="259" y="12794"/>
                  </a:cubicBezTo>
                  <a:lnTo>
                    <a:pt x="1" y="13155"/>
                  </a:lnTo>
                  <a:lnTo>
                    <a:pt x="465" y="13103"/>
                  </a:lnTo>
                  <a:lnTo>
                    <a:pt x="7017" y="11969"/>
                  </a:lnTo>
                  <a:lnTo>
                    <a:pt x="13160" y="10913"/>
                  </a:lnTo>
                  <a:lnTo>
                    <a:pt x="13160" y="10913"/>
                  </a:lnTo>
                  <a:lnTo>
                    <a:pt x="7429" y="19707"/>
                  </a:lnTo>
                  <a:lnTo>
                    <a:pt x="5727" y="22389"/>
                  </a:lnTo>
                  <a:cubicBezTo>
                    <a:pt x="5521" y="22699"/>
                    <a:pt x="5314" y="23060"/>
                    <a:pt x="5159" y="23369"/>
                  </a:cubicBezTo>
                  <a:cubicBezTo>
                    <a:pt x="5417" y="23112"/>
                    <a:pt x="5624" y="22802"/>
                    <a:pt x="5830" y="22492"/>
                  </a:cubicBezTo>
                  <a:cubicBezTo>
                    <a:pt x="6294" y="21822"/>
                    <a:pt x="6913" y="20945"/>
                    <a:pt x="7636" y="19861"/>
                  </a:cubicBezTo>
                  <a:lnTo>
                    <a:pt x="13775" y="10730"/>
                  </a:lnTo>
                  <a:lnTo>
                    <a:pt x="14033" y="10369"/>
                  </a:lnTo>
                  <a:lnTo>
                    <a:pt x="13568" y="10421"/>
                  </a:lnTo>
                  <a:lnTo>
                    <a:pt x="6913" y="11556"/>
                  </a:lnTo>
                  <a:lnTo>
                    <a:pt x="868" y="12611"/>
                  </a:lnTo>
                  <a:lnTo>
                    <a:pt x="868" y="12611"/>
                  </a:lnTo>
                  <a:cubicBezTo>
                    <a:pt x="3137" y="9059"/>
                    <a:pt x="5111" y="5955"/>
                    <a:pt x="6604" y="3714"/>
                  </a:cubicBezTo>
                  <a:lnTo>
                    <a:pt x="8306" y="980"/>
                  </a:lnTo>
                  <a:cubicBezTo>
                    <a:pt x="8513" y="671"/>
                    <a:pt x="8719" y="361"/>
                    <a:pt x="8874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3" name="Google Shape;2313;p46"/>
            <p:cNvSpPr/>
            <p:nvPr/>
          </p:nvSpPr>
          <p:spPr>
            <a:xfrm>
              <a:off x="2839475" y="4058200"/>
              <a:ext cx="350825" cy="585550"/>
            </a:xfrm>
            <a:custGeom>
              <a:avLst/>
              <a:gdLst/>
              <a:ahLst/>
              <a:cxnLst/>
              <a:rect l="l" t="t" r="r" b="b"/>
              <a:pathLst>
                <a:path w="14033" h="23422" extrusionOk="0">
                  <a:moveTo>
                    <a:pt x="8874" y="0"/>
                  </a:moveTo>
                  <a:cubicBezTo>
                    <a:pt x="8616" y="310"/>
                    <a:pt x="8409" y="619"/>
                    <a:pt x="8203" y="929"/>
                  </a:cubicBezTo>
                  <a:lnTo>
                    <a:pt x="6398" y="3560"/>
                  </a:lnTo>
                  <a:cubicBezTo>
                    <a:pt x="4850" y="5881"/>
                    <a:pt x="2735" y="9080"/>
                    <a:pt x="259" y="12794"/>
                  </a:cubicBezTo>
                  <a:lnTo>
                    <a:pt x="1" y="13155"/>
                  </a:lnTo>
                  <a:lnTo>
                    <a:pt x="465" y="13104"/>
                  </a:lnTo>
                  <a:lnTo>
                    <a:pt x="7017" y="11969"/>
                  </a:lnTo>
                  <a:lnTo>
                    <a:pt x="13210" y="10913"/>
                  </a:lnTo>
                  <a:lnTo>
                    <a:pt x="13210" y="10913"/>
                  </a:lnTo>
                  <a:lnTo>
                    <a:pt x="7429" y="19707"/>
                  </a:lnTo>
                  <a:cubicBezTo>
                    <a:pt x="6759" y="20842"/>
                    <a:pt x="6191" y="21719"/>
                    <a:pt x="5727" y="22389"/>
                  </a:cubicBezTo>
                  <a:cubicBezTo>
                    <a:pt x="5521" y="22699"/>
                    <a:pt x="5314" y="23060"/>
                    <a:pt x="5159" y="23421"/>
                  </a:cubicBezTo>
                  <a:cubicBezTo>
                    <a:pt x="5417" y="23112"/>
                    <a:pt x="5675" y="22802"/>
                    <a:pt x="5882" y="22493"/>
                  </a:cubicBezTo>
                  <a:cubicBezTo>
                    <a:pt x="6294" y="21822"/>
                    <a:pt x="6913" y="20945"/>
                    <a:pt x="7636" y="19862"/>
                  </a:cubicBezTo>
                  <a:lnTo>
                    <a:pt x="13775" y="10731"/>
                  </a:lnTo>
                  <a:lnTo>
                    <a:pt x="14033" y="10369"/>
                  </a:lnTo>
                  <a:lnTo>
                    <a:pt x="13568" y="10421"/>
                  </a:lnTo>
                  <a:lnTo>
                    <a:pt x="6965" y="11556"/>
                  </a:lnTo>
                  <a:lnTo>
                    <a:pt x="874" y="12611"/>
                  </a:lnTo>
                  <a:lnTo>
                    <a:pt x="874" y="12611"/>
                  </a:lnTo>
                  <a:cubicBezTo>
                    <a:pt x="3189" y="9063"/>
                    <a:pt x="5160" y="6004"/>
                    <a:pt x="6604" y="3715"/>
                  </a:cubicBezTo>
                  <a:lnTo>
                    <a:pt x="8306" y="981"/>
                  </a:lnTo>
                  <a:cubicBezTo>
                    <a:pt x="8513" y="671"/>
                    <a:pt x="8719" y="361"/>
                    <a:pt x="8874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4" name="Google Shape;2314;p46"/>
            <p:cNvSpPr/>
            <p:nvPr/>
          </p:nvSpPr>
          <p:spPr>
            <a:xfrm>
              <a:off x="3980850" y="3646775"/>
              <a:ext cx="352125" cy="584275"/>
            </a:xfrm>
            <a:custGeom>
              <a:avLst/>
              <a:gdLst/>
              <a:ahLst/>
              <a:cxnLst/>
              <a:rect l="l" t="t" r="r" b="b"/>
              <a:pathLst>
                <a:path w="14085" h="23371" extrusionOk="0">
                  <a:moveTo>
                    <a:pt x="8874" y="1"/>
                  </a:moveTo>
                  <a:cubicBezTo>
                    <a:pt x="8616" y="259"/>
                    <a:pt x="8410" y="568"/>
                    <a:pt x="8203" y="878"/>
                  </a:cubicBezTo>
                  <a:cubicBezTo>
                    <a:pt x="7739" y="1548"/>
                    <a:pt x="7120" y="2477"/>
                    <a:pt x="6398" y="3560"/>
                  </a:cubicBezTo>
                  <a:lnTo>
                    <a:pt x="259" y="12743"/>
                  </a:lnTo>
                  <a:lnTo>
                    <a:pt x="1" y="13156"/>
                  </a:lnTo>
                  <a:lnTo>
                    <a:pt x="1" y="13156"/>
                  </a:lnTo>
                  <a:lnTo>
                    <a:pt x="517" y="13053"/>
                  </a:lnTo>
                  <a:cubicBezTo>
                    <a:pt x="2529" y="12743"/>
                    <a:pt x="4747" y="12330"/>
                    <a:pt x="7017" y="11969"/>
                  </a:cubicBezTo>
                  <a:cubicBezTo>
                    <a:pt x="9153" y="11589"/>
                    <a:pt x="11245" y="11253"/>
                    <a:pt x="13173" y="10921"/>
                  </a:cubicBezTo>
                  <a:lnTo>
                    <a:pt x="13173" y="10921"/>
                  </a:lnTo>
                  <a:lnTo>
                    <a:pt x="7430" y="19707"/>
                  </a:lnTo>
                  <a:cubicBezTo>
                    <a:pt x="6759" y="20791"/>
                    <a:pt x="6191" y="21719"/>
                    <a:pt x="5727" y="22390"/>
                  </a:cubicBezTo>
                  <a:cubicBezTo>
                    <a:pt x="5521" y="22699"/>
                    <a:pt x="5366" y="23009"/>
                    <a:pt x="5160" y="23370"/>
                  </a:cubicBezTo>
                  <a:cubicBezTo>
                    <a:pt x="5418" y="23061"/>
                    <a:pt x="5676" y="22803"/>
                    <a:pt x="5882" y="22442"/>
                  </a:cubicBezTo>
                  <a:lnTo>
                    <a:pt x="7687" y="19862"/>
                  </a:lnTo>
                  <a:cubicBezTo>
                    <a:pt x="9235" y="17541"/>
                    <a:pt x="11350" y="14394"/>
                    <a:pt x="13775" y="10731"/>
                  </a:cubicBezTo>
                  <a:lnTo>
                    <a:pt x="14084" y="10318"/>
                  </a:lnTo>
                  <a:lnTo>
                    <a:pt x="13568" y="10422"/>
                  </a:lnTo>
                  <a:lnTo>
                    <a:pt x="6965" y="11505"/>
                  </a:lnTo>
                  <a:cubicBezTo>
                    <a:pt x="4816" y="11887"/>
                    <a:pt x="2799" y="12225"/>
                    <a:pt x="874" y="12559"/>
                  </a:cubicBezTo>
                  <a:lnTo>
                    <a:pt x="874" y="12559"/>
                  </a:lnTo>
                  <a:cubicBezTo>
                    <a:pt x="3189" y="9011"/>
                    <a:pt x="5161" y="5953"/>
                    <a:pt x="6604" y="3664"/>
                  </a:cubicBezTo>
                  <a:lnTo>
                    <a:pt x="8307" y="981"/>
                  </a:lnTo>
                  <a:cubicBezTo>
                    <a:pt x="8513" y="671"/>
                    <a:pt x="8719" y="310"/>
                    <a:pt x="8874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5" name="Google Shape;2315;p46"/>
            <p:cNvSpPr/>
            <p:nvPr/>
          </p:nvSpPr>
          <p:spPr>
            <a:xfrm>
              <a:off x="1307325" y="3310175"/>
              <a:ext cx="352100" cy="585550"/>
            </a:xfrm>
            <a:custGeom>
              <a:avLst/>
              <a:gdLst/>
              <a:ahLst/>
              <a:cxnLst/>
              <a:rect l="l" t="t" r="r" b="b"/>
              <a:pathLst>
                <a:path w="14084" h="23422" extrusionOk="0">
                  <a:moveTo>
                    <a:pt x="8873" y="0"/>
                  </a:moveTo>
                  <a:cubicBezTo>
                    <a:pt x="8615" y="310"/>
                    <a:pt x="8409" y="619"/>
                    <a:pt x="8203" y="929"/>
                  </a:cubicBezTo>
                  <a:lnTo>
                    <a:pt x="6397" y="3560"/>
                  </a:lnTo>
                  <a:cubicBezTo>
                    <a:pt x="4850" y="5881"/>
                    <a:pt x="2734" y="9080"/>
                    <a:pt x="310" y="12794"/>
                  </a:cubicBezTo>
                  <a:lnTo>
                    <a:pt x="0" y="13155"/>
                  </a:lnTo>
                  <a:lnTo>
                    <a:pt x="516" y="13104"/>
                  </a:lnTo>
                  <a:lnTo>
                    <a:pt x="7016" y="11969"/>
                  </a:lnTo>
                  <a:lnTo>
                    <a:pt x="13212" y="10912"/>
                  </a:lnTo>
                  <a:lnTo>
                    <a:pt x="13212" y="10912"/>
                  </a:lnTo>
                  <a:lnTo>
                    <a:pt x="7481" y="19707"/>
                  </a:lnTo>
                  <a:cubicBezTo>
                    <a:pt x="6758" y="20842"/>
                    <a:pt x="6191" y="21719"/>
                    <a:pt x="5778" y="22389"/>
                  </a:cubicBezTo>
                  <a:cubicBezTo>
                    <a:pt x="5520" y="22699"/>
                    <a:pt x="5365" y="23060"/>
                    <a:pt x="5159" y="23421"/>
                  </a:cubicBezTo>
                  <a:cubicBezTo>
                    <a:pt x="5417" y="23112"/>
                    <a:pt x="5675" y="22802"/>
                    <a:pt x="5881" y="22493"/>
                  </a:cubicBezTo>
                  <a:cubicBezTo>
                    <a:pt x="6346" y="21822"/>
                    <a:pt x="6913" y="20945"/>
                    <a:pt x="7687" y="19862"/>
                  </a:cubicBezTo>
                  <a:cubicBezTo>
                    <a:pt x="9235" y="17592"/>
                    <a:pt x="11350" y="14393"/>
                    <a:pt x="13774" y="10782"/>
                  </a:cubicBezTo>
                  <a:lnTo>
                    <a:pt x="14084" y="10370"/>
                  </a:lnTo>
                  <a:lnTo>
                    <a:pt x="13568" y="10421"/>
                  </a:lnTo>
                  <a:lnTo>
                    <a:pt x="6965" y="11556"/>
                  </a:lnTo>
                  <a:lnTo>
                    <a:pt x="873" y="12611"/>
                  </a:lnTo>
                  <a:lnTo>
                    <a:pt x="873" y="12611"/>
                  </a:lnTo>
                  <a:cubicBezTo>
                    <a:pt x="3188" y="9063"/>
                    <a:pt x="5160" y="6004"/>
                    <a:pt x="6604" y="3715"/>
                  </a:cubicBezTo>
                  <a:cubicBezTo>
                    <a:pt x="7326" y="2580"/>
                    <a:pt x="7893" y="1703"/>
                    <a:pt x="8306" y="1032"/>
                  </a:cubicBezTo>
                  <a:cubicBezTo>
                    <a:pt x="8512" y="671"/>
                    <a:pt x="8719" y="361"/>
                    <a:pt x="8873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6" name="Google Shape;2316;p46"/>
            <p:cNvSpPr/>
            <p:nvPr/>
          </p:nvSpPr>
          <p:spPr>
            <a:xfrm>
              <a:off x="699875" y="4835875"/>
              <a:ext cx="527500" cy="356000"/>
            </a:xfrm>
            <a:custGeom>
              <a:avLst/>
              <a:gdLst/>
              <a:ahLst/>
              <a:cxnLst/>
              <a:rect l="l" t="t" r="r" b="b"/>
              <a:pathLst>
                <a:path w="21100" h="14240" extrusionOk="0">
                  <a:moveTo>
                    <a:pt x="11453" y="1"/>
                  </a:moveTo>
                  <a:lnTo>
                    <a:pt x="11401" y="465"/>
                  </a:lnTo>
                  <a:cubicBezTo>
                    <a:pt x="11092" y="2580"/>
                    <a:pt x="10731" y="4799"/>
                    <a:pt x="10421" y="7120"/>
                  </a:cubicBezTo>
                  <a:cubicBezTo>
                    <a:pt x="10087" y="9268"/>
                    <a:pt x="9797" y="11328"/>
                    <a:pt x="9510" y="13258"/>
                  </a:cubicBezTo>
                  <a:lnTo>
                    <a:pt x="9510" y="13258"/>
                  </a:lnTo>
                  <a:cubicBezTo>
                    <a:pt x="6847" y="9955"/>
                    <a:pt x="4530" y="7096"/>
                    <a:pt x="2838" y="5005"/>
                  </a:cubicBezTo>
                  <a:cubicBezTo>
                    <a:pt x="2012" y="4025"/>
                    <a:pt x="1290" y="3199"/>
                    <a:pt x="774" y="2580"/>
                  </a:cubicBezTo>
                  <a:cubicBezTo>
                    <a:pt x="568" y="2271"/>
                    <a:pt x="310" y="1961"/>
                    <a:pt x="0" y="1703"/>
                  </a:cubicBezTo>
                  <a:lnTo>
                    <a:pt x="0" y="1703"/>
                  </a:lnTo>
                  <a:cubicBezTo>
                    <a:pt x="207" y="2064"/>
                    <a:pt x="413" y="2374"/>
                    <a:pt x="671" y="2683"/>
                  </a:cubicBezTo>
                  <a:lnTo>
                    <a:pt x="2631" y="5211"/>
                  </a:lnTo>
                  <a:cubicBezTo>
                    <a:pt x="4385" y="7378"/>
                    <a:pt x="6758" y="10370"/>
                    <a:pt x="9493" y="13878"/>
                  </a:cubicBezTo>
                  <a:lnTo>
                    <a:pt x="9802" y="14239"/>
                  </a:lnTo>
                  <a:lnTo>
                    <a:pt x="9854" y="13775"/>
                  </a:lnTo>
                  <a:lnTo>
                    <a:pt x="10834" y="7223"/>
                  </a:lnTo>
                  <a:lnTo>
                    <a:pt x="11745" y="1036"/>
                  </a:lnTo>
                  <a:lnTo>
                    <a:pt x="18314" y="9235"/>
                  </a:lnTo>
                  <a:cubicBezTo>
                    <a:pt x="19140" y="10215"/>
                    <a:pt x="19810" y="11041"/>
                    <a:pt x="20326" y="11660"/>
                  </a:cubicBezTo>
                  <a:cubicBezTo>
                    <a:pt x="20584" y="11969"/>
                    <a:pt x="20842" y="12227"/>
                    <a:pt x="21100" y="12537"/>
                  </a:cubicBezTo>
                  <a:cubicBezTo>
                    <a:pt x="20894" y="12176"/>
                    <a:pt x="20687" y="11866"/>
                    <a:pt x="20429" y="11557"/>
                  </a:cubicBezTo>
                  <a:lnTo>
                    <a:pt x="18520" y="9029"/>
                  </a:lnTo>
                  <a:lnTo>
                    <a:pt x="11762" y="414"/>
                  </a:lnTo>
                  <a:lnTo>
                    <a:pt x="114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7" name="Google Shape;2317;p46"/>
            <p:cNvSpPr/>
            <p:nvPr/>
          </p:nvSpPr>
          <p:spPr>
            <a:xfrm>
              <a:off x="2072100" y="3862475"/>
              <a:ext cx="522350" cy="279575"/>
            </a:xfrm>
            <a:custGeom>
              <a:avLst/>
              <a:gdLst/>
              <a:ahLst/>
              <a:cxnLst/>
              <a:rect l="l" t="t" r="r" b="b"/>
              <a:pathLst>
                <a:path w="20894" h="11183" extrusionOk="0">
                  <a:moveTo>
                    <a:pt x="20327" y="1"/>
                  </a:moveTo>
                  <a:cubicBezTo>
                    <a:pt x="20133" y="1"/>
                    <a:pt x="19940" y="14"/>
                    <a:pt x="19759" y="40"/>
                  </a:cubicBezTo>
                  <a:lnTo>
                    <a:pt x="16561" y="194"/>
                  </a:lnTo>
                  <a:cubicBezTo>
                    <a:pt x="13775" y="349"/>
                    <a:pt x="9957" y="607"/>
                    <a:pt x="5521" y="865"/>
                  </a:cubicBezTo>
                  <a:lnTo>
                    <a:pt x="5057" y="865"/>
                  </a:lnTo>
                  <a:lnTo>
                    <a:pt x="5366" y="1226"/>
                  </a:lnTo>
                  <a:lnTo>
                    <a:pt x="10215" y="5766"/>
                  </a:lnTo>
                  <a:lnTo>
                    <a:pt x="14765" y="10028"/>
                  </a:lnTo>
                  <a:lnTo>
                    <a:pt x="14765" y="10028"/>
                  </a:lnTo>
                  <a:cubicBezTo>
                    <a:pt x="10574" y="10323"/>
                    <a:pt x="6972" y="10571"/>
                    <a:pt x="4283" y="10770"/>
                  </a:cubicBezTo>
                  <a:cubicBezTo>
                    <a:pt x="2993" y="10873"/>
                    <a:pt x="1910" y="10976"/>
                    <a:pt x="1136" y="11028"/>
                  </a:cubicBezTo>
                  <a:cubicBezTo>
                    <a:pt x="723" y="11028"/>
                    <a:pt x="362" y="11079"/>
                    <a:pt x="1" y="11183"/>
                  </a:cubicBezTo>
                  <a:lnTo>
                    <a:pt x="1136" y="11183"/>
                  </a:lnTo>
                  <a:cubicBezTo>
                    <a:pt x="1910" y="11131"/>
                    <a:pt x="2993" y="11079"/>
                    <a:pt x="4283" y="11028"/>
                  </a:cubicBezTo>
                  <a:cubicBezTo>
                    <a:pt x="7068" y="10873"/>
                    <a:pt x="10886" y="10667"/>
                    <a:pt x="15271" y="10409"/>
                  </a:cubicBezTo>
                  <a:lnTo>
                    <a:pt x="15735" y="10409"/>
                  </a:lnTo>
                  <a:lnTo>
                    <a:pt x="15374" y="10048"/>
                  </a:lnTo>
                  <a:cubicBezTo>
                    <a:pt x="13878" y="8655"/>
                    <a:pt x="12227" y="7056"/>
                    <a:pt x="10525" y="5456"/>
                  </a:cubicBezTo>
                  <a:lnTo>
                    <a:pt x="6021" y="1240"/>
                  </a:lnTo>
                  <a:lnTo>
                    <a:pt x="6021" y="1240"/>
                  </a:lnTo>
                  <a:lnTo>
                    <a:pt x="16561" y="452"/>
                  </a:lnTo>
                  <a:lnTo>
                    <a:pt x="19759" y="194"/>
                  </a:lnTo>
                  <a:cubicBezTo>
                    <a:pt x="20120" y="143"/>
                    <a:pt x="20533" y="91"/>
                    <a:pt x="20894" y="40"/>
                  </a:cubicBezTo>
                  <a:cubicBezTo>
                    <a:pt x="20713" y="14"/>
                    <a:pt x="20520" y="1"/>
                    <a:pt x="20327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8" name="Google Shape;2318;p46"/>
            <p:cNvSpPr/>
            <p:nvPr/>
          </p:nvSpPr>
          <p:spPr>
            <a:xfrm>
              <a:off x="2128850" y="4872000"/>
              <a:ext cx="532675" cy="357275"/>
            </a:xfrm>
            <a:custGeom>
              <a:avLst/>
              <a:gdLst/>
              <a:ahLst/>
              <a:cxnLst/>
              <a:rect l="l" t="t" r="r" b="b"/>
              <a:pathLst>
                <a:path w="21307" h="14291" extrusionOk="0">
                  <a:moveTo>
                    <a:pt x="1" y="1961"/>
                  </a:moveTo>
                  <a:cubicBezTo>
                    <a:pt x="32" y="1987"/>
                    <a:pt x="63" y="2013"/>
                    <a:pt x="94" y="2040"/>
                  </a:cubicBezTo>
                  <a:lnTo>
                    <a:pt x="94" y="2040"/>
                  </a:lnTo>
                  <a:cubicBezTo>
                    <a:pt x="79" y="2013"/>
                    <a:pt x="66" y="1987"/>
                    <a:pt x="52" y="1961"/>
                  </a:cubicBezTo>
                  <a:close/>
                  <a:moveTo>
                    <a:pt x="11453" y="0"/>
                  </a:moveTo>
                  <a:lnTo>
                    <a:pt x="11350" y="516"/>
                  </a:lnTo>
                  <a:cubicBezTo>
                    <a:pt x="11092" y="2580"/>
                    <a:pt x="10834" y="4798"/>
                    <a:pt x="10525" y="7171"/>
                  </a:cubicBezTo>
                  <a:cubicBezTo>
                    <a:pt x="10238" y="9318"/>
                    <a:pt x="9996" y="11376"/>
                    <a:pt x="9758" y="13264"/>
                  </a:cubicBezTo>
                  <a:lnTo>
                    <a:pt x="9758" y="13264"/>
                  </a:lnTo>
                  <a:lnTo>
                    <a:pt x="2890" y="5211"/>
                  </a:lnTo>
                  <a:cubicBezTo>
                    <a:pt x="2064" y="4179"/>
                    <a:pt x="1342" y="3405"/>
                    <a:pt x="826" y="2786"/>
                  </a:cubicBezTo>
                  <a:cubicBezTo>
                    <a:pt x="595" y="2508"/>
                    <a:pt x="363" y="2272"/>
                    <a:pt x="94" y="2040"/>
                  </a:cubicBezTo>
                  <a:lnTo>
                    <a:pt x="94" y="2040"/>
                  </a:lnTo>
                  <a:cubicBezTo>
                    <a:pt x="251" y="2323"/>
                    <a:pt x="487" y="2606"/>
                    <a:pt x="723" y="2889"/>
                  </a:cubicBezTo>
                  <a:cubicBezTo>
                    <a:pt x="1239" y="3508"/>
                    <a:pt x="1910" y="4334"/>
                    <a:pt x="2735" y="5365"/>
                  </a:cubicBezTo>
                  <a:cubicBezTo>
                    <a:pt x="4489" y="7532"/>
                    <a:pt x="6914" y="10473"/>
                    <a:pt x="9751" y="13877"/>
                  </a:cubicBezTo>
                  <a:lnTo>
                    <a:pt x="10009" y="14290"/>
                  </a:lnTo>
                  <a:lnTo>
                    <a:pt x="10112" y="13774"/>
                  </a:lnTo>
                  <a:cubicBezTo>
                    <a:pt x="10370" y="11762"/>
                    <a:pt x="10628" y="9544"/>
                    <a:pt x="10937" y="7223"/>
                  </a:cubicBezTo>
                  <a:cubicBezTo>
                    <a:pt x="11222" y="5041"/>
                    <a:pt x="11463" y="2991"/>
                    <a:pt x="11740" y="1071"/>
                  </a:cubicBezTo>
                  <a:lnTo>
                    <a:pt x="11740" y="1071"/>
                  </a:lnTo>
                  <a:cubicBezTo>
                    <a:pt x="14436" y="4258"/>
                    <a:pt x="16785" y="7049"/>
                    <a:pt x="18469" y="9080"/>
                  </a:cubicBezTo>
                  <a:lnTo>
                    <a:pt x="20533" y="11504"/>
                  </a:lnTo>
                  <a:cubicBezTo>
                    <a:pt x="20791" y="11762"/>
                    <a:pt x="21049" y="12072"/>
                    <a:pt x="21307" y="12330"/>
                  </a:cubicBezTo>
                  <a:cubicBezTo>
                    <a:pt x="21100" y="11969"/>
                    <a:pt x="20894" y="11711"/>
                    <a:pt x="20636" y="11401"/>
                  </a:cubicBezTo>
                  <a:lnTo>
                    <a:pt x="18676" y="8925"/>
                  </a:lnTo>
                  <a:cubicBezTo>
                    <a:pt x="16922" y="6758"/>
                    <a:pt x="14497" y="3818"/>
                    <a:pt x="11763" y="361"/>
                  </a:cubicBezTo>
                  <a:lnTo>
                    <a:pt x="11453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9" name="Google Shape;2319;p46"/>
            <p:cNvSpPr/>
            <p:nvPr/>
          </p:nvSpPr>
          <p:spPr>
            <a:xfrm>
              <a:off x="775975" y="4144600"/>
              <a:ext cx="522350" cy="279575"/>
            </a:xfrm>
            <a:custGeom>
              <a:avLst/>
              <a:gdLst/>
              <a:ahLst/>
              <a:cxnLst/>
              <a:rect l="l" t="t" r="r" b="b"/>
              <a:pathLst>
                <a:path w="20894" h="11183" extrusionOk="0">
                  <a:moveTo>
                    <a:pt x="20893" y="1"/>
                  </a:moveTo>
                  <a:cubicBezTo>
                    <a:pt x="20532" y="1"/>
                    <a:pt x="20171" y="1"/>
                    <a:pt x="19758" y="52"/>
                  </a:cubicBezTo>
                  <a:lnTo>
                    <a:pt x="16560" y="207"/>
                  </a:lnTo>
                  <a:lnTo>
                    <a:pt x="5520" y="826"/>
                  </a:lnTo>
                  <a:lnTo>
                    <a:pt x="5056" y="878"/>
                  </a:lnTo>
                  <a:lnTo>
                    <a:pt x="5417" y="1187"/>
                  </a:lnTo>
                  <a:cubicBezTo>
                    <a:pt x="6913" y="2632"/>
                    <a:pt x="8564" y="4179"/>
                    <a:pt x="10215" y="5779"/>
                  </a:cubicBezTo>
                  <a:lnTo>
                    <a:pt x="14768" y="10044"/>
                  </a:lnTo>
                  <a:lnTo>
                    <a:pt x="14768" y="10044"/>
                  </a:lnTo>
                  <a:lnTo>
                    <a:pt x="4282" y="10783"/>
                  </a:lnTo>
                  <a:cubicBezTo>
                    <a:pt x="2992" y="10886"/>
                    <a:pt x="1960" y="10937"/>
                    <a:pt x="1135" y="11041"/>
                  </a:cubicBezTo>
                  <a:cubicBezTo>
                    <a:pt x="774" y="11041"/>
                    <a:pt x="361" y="11092"/>
                    <a:pt x="0" y="11144"/>
                  </a:cubicBezTo>
                  <a:cubicBezTo>
                    <a:pt x="206" y="11169"/>
                    <a:pt x="400" y="11182"/>
                    <a:pt x="587" y="11182"/>
                  </a:cubicBezTo>
                  <a:cubicBezTo>
                    <a:pt x="774" y="11182"/>
                    <a:pt x="955" y="11169"/>
                    <a:pt x="1135" y="11144"/>
                  </a:cubicBezTo>
                  <a:lnTo>
                    <a:pt x="4334" y="11041"/>
                  </a:lnTo>
                  <a:lnTo>
                    <a:pt x="15270" y="10421"/>
                  </a:lnTo>
                  <a:lnTo>
                    <a:pt x="15786" y="10370"/>
                  </a:lnTo>
                  <a:lnTo>
                    <a:pt x="15425" y="10060"/>
                  </a:lnTo>
                  <a:cubicBezTo>
                    <a:pt x="13877" y="8616"/>
                    <a:pt x="12226" y="7068"/>
                    <a:pt x="10524" y="5417"/>
                  </a:cubicBezTo>
                  <a:lnTo>
                    <a:pt x="6028" y="1256"/>
                  </a:lnTo>
                  <a:lnTo>
                    <a:pt x="6028" y="1256"/>
                  </a:lnTo>
                  <a:lnTo>
                    <a:pt x="16611" y="465"/>
                  </a:lnTo>
                  <a:lnTo>
                    <a:pt x="19758" y="155"/>
                  </a:lnTo>
                  <a:cubicBezTo>
                    <a:pt x="20171" y="155"/>
                    <a:pt x="20532" y="104"/>
                    <a:pt x="20893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0" name="Google Shape;2320;p46"/>
            <p:cNvSpPr/>
            <p:nvPr/>
          </p:nvSpPr>
          <p:spPr>
            <a:xfrm>
              <a:off x="1490450" y="4896500"/>
              <a:ext cx="522350" cy="279575"/>
            </a:xfrm>
            <a:custGeom>
              <a:avLst/>
              <a:gdLst/>
              <a:ahLst/>
              <a:cxnLst/>
              <a:rect l="l" t="t" r="r" b="b"/>
              <a:pathLst>
                <a:path w="20894" h="11183" extrusionOk="0">
                  <a:moveTo>
                    <a:pt x="19759" y="0"/>
                  </a:moveTo>
                  <a:lnTo>
                    <a:pt x="16560" y="155"/>
                  </a:lnTo>
                  <a:cubicBezTo>
                    <a:pt x="13775" y="362"/>
                    <a:pt x="9957" y="568"/>
                    <a:pt x="5521" y="826"/>
                  </a:cubicBezTo>
                  <a:lnTo>
                    <a:pt x="5056" y="877"/>
                  </a:lnTo>
                  <a:lnTo>
                    <a:pt x="5366" y="1187"/>
                  </a:lnTo>
                  <a:lnTo>
                    <a:pt x="10215" y="5727"/>
                  </a:lnTo>
                  <a:lnTo>
                    <a:pt x="14763" y="10035"/>
                  </a:lnTo>
                  <a:lnTo>
                    <a:pt x="14763" y="10035"/>
                  </a:lnTo>
                  <a:cubicBezTo>
                    <a:pt x="10573" y="10284"/>
                    <a:pt x="6971" y="10532"/>
                    <a:pt x="4283" y="10731"/>
                  </a:cubicBezTo>
                  <a:cubicBezTo>
                    <a:pt x="2993" y="10834"/>
                    <a:pt x="1910" y="10937"/>
                    <a:pt x="1136" y="10989"/>
                  </a:cubicBezTo>
                  <a:cubicBezTo>
                    <a:pt x="723" y="11040"/>
                    <a:pt x="362" y="11040"/>
                    <a:pt x="1" y="11143"/>
                  </a:cubicBezTo>
                  <a:cubicBezTo>
                    <a:pt x="181" y="11169"/>
                    <a:pt x="362" y="11182"/>
                    <a:pt x="549" y="11182"/>
                  </a:cubicBezTo>
                  <a:cubicBezTo>
                    <a:pt x="736" y="11182"/>
                    <a:pt x="929" y="11169"/>
                    <a:pt x="1136" y="11143"/>
                  </a:cubicBezTo>
                  <a:cubicBezTo>
                    <a:pt x="1910" y="11092"/>
                    <a:pt x="2993" y="11040"/>
                    <a:pt x="4283" y="10989"/>
                  </a:cubicBezTo>
                  <a:cubicBezTo>
                    <a:pt x="7068" y="10834"/>
                    <a:pt x="10834" y="10628"/>
                    <a:pt x="15271" y="10421"/>
                  </a:cubicBezTo>
                  <a:lnTo>
                    <a:pt x="15735" y="10370"/>
                  </a:lnTo>
                  <a:lnTo>
                    <a:pt x="15374" y="10060"/>
                  </a:lnTo>
                  <a:cubicBezTo>
                    <a:pt x="13878" y="8616"/>
                    <a:pt x="12227" y="7068"/>
                    <a:pt x="10473" y="5417"/>
                  </a:cubicBezTo>
                  <a:cubicBezTo>
                    <a:pt x="8946" y="3937"/>
                    <a:pt x="7418" y="2546"/>
                    <a:pt x="6013" y="1202"/>
                  </a:cubicBezTo>
                  <a:lnTo>
                    <a:pt x="6013" y="1202"/>
                  </a:lnTo>
                  <a:lnTo>
                    <a:pt x="16560" y="413"/>
                  </a:lnTo>
                  <a:lnTo>
                    <a:pt x="19759" y="155"/>
                  </a:lnTo>
                  <a:cubicBezTo>
                    <a:pt x="20120" y="155"/>
                    <a:pt x="20481" y="104"/>
                    <a:pt x="20894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1" name="Google Shape;2321;p46"/>
            <p:cNvSpPr/>
            <p:nvPr/>
          </p:nvSpPr>
          <p:spPr>
            <a:xfrm>
              <a:off x="3101275" y="2983875"/>
              <a:ext cx="522375" cy="279575"/>
            </a:xfrm>
            <a:custGeom>
              <a:avLst/>
              <a:gdLst/>
              <a:ahLst/>
              <a:cxnLst/>
              <a:rect l="l" t="t" r="r" b="b"/>
              <a:pathLst>
                <a:path w="20895" h="11183" extrusionOk="0">
                  <a:moveTo>
                    <a:pt x="20894" y="1"/>
                  </a:moveTo>
                  <a:cubicBezTo>
                    <a:pt x="20533" y="1"/>
                    <a:pt x="20120" y="1"/>
                    <a:pt x="19759" y="52"/>
                  </a:cubicBezTo>
                  <a:lnTo>
                    <a:pt x="16561" y="207"/>
                  </a:lnTo>
                  <a:cubicBezTo>
                    <a:pt x="13775" y="362"/>
                    <a:pt x="9957" y="568"/>
                    <a:pt x="5521" y="878"/>
                  </a:cubicBezTo>
                  <a:lnTo>
                    <a:pt x="5057" y="878"/>
                  </a:lnTo>
                  <a:lnTo>
                    <a:pt x="5418" y="1187"/>
                  </a:lnTo>
                  <a:lnTo>
                    <a:pt x="10215" y="5778"/>
                  </a:lnTo>
                  <a:lnTo>
                    <a:pt x="14768" y="10044"/>
                  </a:lnTo>
                  <a:lnTo>
                    <a:pt x="14768" y="10044"/>
                  </a:lnTo>
                  <a:cubicBezTo>
                    <a:pt x="10550" y="10338"/>
                    <a:pt x="6963" y="10584"/>
                    <a:pt x="4283" y="10782"/>
                  </a:cubicBezTo>
                  <a:cubicBezTo>
                    <a:pt x="2993" y="10886"/>
                    <a:pt x="1910" y="10937"/>
                    <a:pt x="1136" y="11040"/>
                  </a:cubicBezTo>
                  <a:cubicBezTo>
                    <a:pt x="723" y="11040"/>
                    <a:pt x="362" y="11092"/>
                    <a:pt x="1" y="11144"/>
                  </a:cubicBezTo>
                  <a:cubicBezTo>
                    <a:pt x="182" y="11169"/>
                    <a:pt x="375" y="11182"/>
                    <a:pt x="568" y="11182"/>
                  </a:cubicBezTo>
                  <a:cubicBezTo>
                    <a:pt x="762" y="11182"/>
                    <a:pt x="955" y="11169"/>
                    <a:pt x="1136" y="11144"/>
                  </a:cubicBezTo>
                  <a:cubicBezTo>
                    <a:pt x="1910" y="11144"/>
                    <a:pt x="2993" y="11092"/>
                    <a:pt x="4283" y="11040"/>
                  </a:cubicBezTo>
                  <a:cubicBezTo>
                    <a:pt x="7069" y="10886"/>
                    <a:pt x="10886" y="10679"/>
                    <a:pt x="15271" y="10421"/>
                  </a:cubicBezTo>
                  <a:lnTo>
                    <a:pt x="15735" y="10370"/>
                  </a:lnTo>
                  <a:lnTo>
                    <a:pt x="15426" y="10060"/>
                  </a:lnTo>
                  <a:cubicBezTo>
                    <a:pt x="13878" y="8616"/>
                    <a:pt x="12227" y="7068"/>
                    <a:pt x="10525" y="5469"/>
                  </a:cubicBezTo>
                  <a:lnTo>
                    <a:pt x="6025" y="1256"/>
                  </a:lnTo>
                  <a:lnTo>
                    <a:pt x="6025" y="1256"/>
                  </a:lnTo>
                  <a:lnTo>
                    <a:pt x="16561" y="465"/>
                  </a:lnTo>
                  <a:lnTo>
                    <a:pt x="19759" y="155"/>
                  </a:lnTo>
                  <a:cubicBezTo>
                    <a:pt x="20120" y="155"/>
                    <a:pt x="20533" y="104"/>
                    <a:pt x="20894" y="52"/>
                  </a:cubicBezTo>
                  <a:lnTo>
                    <a:pt x="2089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2" name="Google Shape;2322;p46"/>
            <p:cNvSpPr/>
            <p:nvPr/>
          </p:nvSpPr>
          <p:spPr>
            <a:xfrm>
              <a:off x="2791750" y="4764050"/>
              <a:ext cx="1078225" cy="567300"/>
            </a:xfrm>
            <a:custGeom>
              <a:avLst/>
              <a:gdLst/>
              <a:ahLst/>
              <a:cxnLst/>
              <a:rect l="l" t="t" r="r" b="b"/>
              <a:pathLst>
                <a:path w="43129" h="22692" extrusionOk="0">
                  <a:moveTo>
                    <a:pt x="21069" y="1"/>
                  </a:moveTo>
                  <a:cubicBezTo>
                    <a:pt x="20944" y="1"/>
                    <a:pt x="20833" y="12"/>
                    <a:pt x="20739" y="36"/>
                  </a:cubicBezTo>
                  <a:cubicBezTo>
                    <a:pt x="16045" y="1223"/>
                    <a:pt x="1910" y="5298"/>
                    <a:pt x="1910" y="5298"/>
                  </a:cubicBezTo>
                  <a:lnTo>
                    <a:pt x="1" y="22168"/>
                  </a:lnTo>
                  <a:cubicBezTo>
                    <a:pt x="1" y="22168"/>
                    <a:pt x="4560" y="22691"/>
                    <a:pt x="8155" y="22691"/>
                  </a:cubicBezTo>
                  <a:cubicBezTo>
                    <a:pt x="9213" y="22691"/>
                    <a:pt x="10187" y="22646"/>
                    <a:pt x="10938" y="22529"/>
                  </a:cubicBezTo>
                  <a:cubicBezTo>
                    <a:pt x="14239" y="22065"/>
                    <a:pt x="18469" y="14997"/>
                    <a:pt x="18469" y="14997"/>
                  </a:cubicBezTo>
                  <a:cubicBezTo>
                    <a:pt x="18469" y="14997"/>
                    <a:pt x="23577" y="15358"/>
                    <a:pt x="26053" y="15668"/>
                  </a:cubicBezTo>
                  <a:cubicBezTo>
                    <a:pt x="28429" y="15965"/>
                    <a:pt x="29143" y="21631"/>
                    <a:pt x="31659" y="21631"/>
                  </a:cubicBezTo>
                  <a:cubicBezTo>
                    <a:pt x="31764" y="21631"/>
                    <a:pt x="31873" y="21621"/>
                    <a:pt x="31985" y="21600"/>
                  </a:cubicBezTo>
                  <a:cubicBezTo>
                    <a:pt x="34823" y="21084"/>
                    <a:pt x="33327" y="16338"/>
                    <a:pt x="33327" y="16338"/>
                  </a:cubicBezTo>
                  <a:lnTo>
                    <a:pt x="33327" y="16338"/>
                  </a:lnTo>
                  <a:cubicBezTo>
                    <a:pt x="33361" y="16339"/>
                    <a:pt x="33395" y="16340"/>
                    <a:pt x="33428" y="16340"/>
                  </a:cubicBezTo>
                  <a:cubicBezTo>
                    <a:pt x="36283" y="16340"/>
                    <a:pt x="34771" y="12005"/>
                    <a:pt x="34771" y="12005"/>
                  </a:cubicBezTo>
                  <a:lnTo>
                    <a:pt x="34771" y="12005"/>
                  </a:lnTo>
                  <a:cubicBezTo>
                    <a:pt x="37329" y="13208"/>
                    <a:pt x="39324" y="13815"/>
                    <a:pt x="40677" y="13815"/>
                  </a:cubicBezTo>
                  <a:cubicBezTo>
                    <a:pt x="41643" y="13815"/>
                    <a:pt x="42281" y="13505"/>
                    <a:pt x="42561" y="12882"/>
                  </a:cubicBezTo>
                  <a:cubicBezTo>
                    <a:pt x="43128" y="11489"/>
                    <a:pt x="35700" y="7104"/>
                    <a:pt x="35700" y="7104"/>
                  </a:cubicBezTo>
                  <a:cubicBezTo>
                    <a:pt x="30614" y="3877"/>
                    <a:pt x="23350" y="1"/>
                    <a:pt x="21069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3" name="Google Shape;2323;p46"/>
            <p:cNvSpPr/>
            <p:nvPr/>
          </p:nvSpPr>
          <p:spPr>
            <a:xfrm>
              <a:off x="3440475" y="4920825"/>
              <a:ext cx="194775" cy="121600"/>
            </a:xfrm>
            <a:custGeom>
              <a:avLst/>
              <a:gdLst/>
              <a:ahLst/>
              <a:cxnLst/>
              <a:rect l="l" t="t" r="r" b="b"/>
              <a:pathLst>
                <a:path w="7791" h="4864" extrusionOk="0">
                  <a:moveTo>
                    <a:pt x="79" y="0"/>
                  </a:moveTo>
                  <a:cubicBezTo>
                    <a:pt x="66" y="0"/>
                    <a:pt x="57" y="3"/>
                    <a:pt x="52" y="8"/>
                  </a:cubicBezTo>
                  <a:cubicBezTo>
                    <a:pt x="1" y="111"/>
                    <a:pt x="1651" y="1297"/>
                    <a:pt x="3767" y="2587"/>
                  </a:cubicBezTo>
                  <a:cubicBezTo>
                    <a:pt x="5784" y="3866"/>
                    <a:pt x="7473" y="4864"/>
                    <a:pt x="7714" y="4864"/>
                  </a:cubicBezTo>
                  <a:cubicBezTo>
                    <a:pt x="7726" y="4864"/>
                    <a:pt x="7734" y="4862"/>
                    <a:pt x="7739" y="4857"/>
                  </a:cubicBezTo>
                  <a:cubicBezTo>
                    <a:pt x="7790" y="4754"/>
                    <a:pt x="6140" y="3567"/>
                    <a:pt x="4024" y="2226"/>
                  </a:cubicBezTo>
                  <a:cubicBezTo>
                    <a:pt x="2012" y="950"/>
                    <a:pt x="326" y="0"/>
                    <a:pt x="79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4" name="Google Shape;2324;p46"/>
            <p:cNvSpPr/>
            <p:nvPr/>
          </p:nvSpPr>
          <p:spPr>
            <a:xfrm>
              <a:off x="3419850" y="4989150"/>
              <a:ext cx="232150" cy="106200"/>
            </a:xfrm>
            <a:custGeom>
              <a:avLst/>
              <a:gdLst/>
              <a:ahLst/>
              <a:cxnLst/>
              <a:rect l="l" t="t" r="r" b="b"/>
              <a:pathLst>
                <a:path w="9286" h="4248" extrusionOk="0">
                  <a:moveTo>
                    <a:pt x="80" y="0"/>
                  </a:moveTo>
                  <a:cubicBezTo>
                    <a:pt x="64" y="0"/>
                    <a:pt x="55" y="3"/>
                    <a:pt x="52" y="9"/>
                  </a:cubicBezTo>
                  <a:cubicBezTo>
                    <a:pt x="0" y="112"/>
                    <a:pt x="2012" y="1144"/>
                    <a:pt x="4540" y="2330"/>
                  </a:cubicBezTo>
                  <a:cubicBezTo>
                    <a:pt x="6981" y="3404"/>
                    <a:pt x="8960" y="4247"/>
                    <a:pt x="9209" y="4247"/>
                  </a:cubicBezTo>
                  <a:cubicBezTo>
                    <a:pt x="9223" y="4247"/>
                    <a:pt x="9232" y="4245"/>
                    <a:pt x="9234" y="4239"/>
                  </a:cubicBezTo>
                  <a:cubicBezTo>
                    <a:pt x="9286" y="4136"/>
                    <a:pt x="7274" y="3104"/>
                    <a:pt x="4746" y="1918"/>
                  </a:cubicBezTo>
                  <a:cubicBezTo>
                    <a:pt x="2361" y="798"/>
                    <a:pt x="344" y="0"/>
                    <a:pt x="80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5" name="Google Shape;2325;p46"/>
            <p:cNvSpPr/>
            <p:nvPr/>
          </p:nvSpPr>
          <p:spPr>
            <a:xfrm>
              <a:off x="3458525" y="5152125"/>
              <a:ext cx="158675" cy="23975"/>
            </a:xfrm>
            <a:custGeom>
              <a:avLst/>
              <a:gdLst/>
              <a:ahLst/>
              <a:cxnLst/>
              <a:rect l="l" t="t" r="r" b="b"/>
              <a:pathLst>
                <a:path w="6347" h="959" extrusionOk="0">
                  <a:moveTo>
                    <a:pt x="333" y="1"/>
                  </a:moveTo>
                  <a:cubicBezTo>
                    <a:pt x="152" y="1"/>
                    <a:pt x="52" y="14"/>
                    <a:pt x="52" y="41"/>
                  </a:cubicBezTo>
                  <a:cubicBezTo>
                    <a:pt x="1" y="196"/>
                    <a:pt x="1394" y="454"/>
                    <a:pt x="3148" y="712"/>
                  </a:cubicBezTo>
                  <a:cubicBezTo>
                    <a:pt x="4432" y="863"/>
                    <a:pt x="5550" y="959"/>
                    <a:pt x="6057" y="959"/>
                  </a:cubicBezTo>
                  <a:cubicBezTo>
                    <a:pt x="6242" y="959"/>
                    <a:pt x="6346" y="946"/>
                    <a:pt x="6346" y="918"/>
                  </a:cubicBezTo>
                  <a:cubicBezTo>
                    <a:pt x="6346" y="815"/>
                    <a:pt x="4953" y="506"/>
                    <a:pt x="3199" y="248"/>
                  </a:cubicBezTo>
                  <a:cubicBezTo>
                    <a:pt x="1915" y="97"/>
                    <a:pt x="825" y="1"/>
                    <a:pt x="333" y="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6" name="Google Shape;2326;p46"/>
            <p:cNvSpPr/>
            <p:nvPr/>
          </p:nvSpPr>
          <p:spPr>
            <a:xfrm>
              <a:off x="2082425" y="238475"/>
              <a:ext cx="1609575" cy="1111500"/>
            </a:xfrm>
            <a:custGeom>
              <a:avLst/>
              <a:gdLst/>
              <a:ahLst/>
              <a:cxnLst/>
              <a:rect l="l" t="t" r="r" b="b"/>
              <a:pathLst>
                <a:path w="64383" h="44460" extrusionOk="0">
                  <a:moveTo>
                    <a:pt x="48824" y="1"/>
                  </a:moveTo>
                  <a:cubicBezTo>
                    <a:pt x="46836" y="1"/>
                    <a:pt x="44828" y="402"/>
                    <a:pt x="42922" y="1224"/>
                  </a:cubicBezTo>
                  <a:cubicBezTo>
                    <a:pt x="40445" y="2359"/>
                    <a:pt x="38279" y="4216"/>
                    <a:pt x="35596" y="4887"/>
                  </a:cubicBezTo>
                  <a:cubicBezTo>
                    <a:pt x="34771" y="5087"/>
                    <a:pt x="33939" y="5166"/>
                    <a:pt x="33102" y="5166"/>
                  </a:cubicBezTo>
                  <a:cubicBezTo>
                    <a:pt x="30697" y="5166"/>
                    <a:pt x="28257" y="4509"/>
                    <a:pt x="25846" y="4165"/>
                  </a:cubicBezTo>
                  <a:cubicBezTo>
                    <a:pt x="25164" y="4078"/>
                    <a:pt x="24454" y="4028"/>
                    <a:pt x="23741" y="4028"/>
                  </a:cubicBezTo>
                  <a:cubicBezTo>
                    <a:pt x="21062" y="4028"/>
                    <a:pt x="18348" y="4739"/>
                    <a:pt x="16921" y="6899"/>
                  </a:cubicBezTo>
                  <a:cubicBezTo>
                    <a:pt x="15735" y="8653"/>
                    <a:pt x="15632" y="11077"/>
                    <a:pt x="14136" y="12573"/>
                  </a:cubicBezTo>
                  <a:cubicBezTo>
                    <a:pt x="12021" y="14585"/>
                    <a:pt x="8564" y="13708"/>
                    <a:pt x="5778" y="14534"/>
                  </a:cubicBezTo>
                  <a:cubicBezTo>
                    <a:pt x="2993" y="15359"/>
                    <a:pt x="929" y="17732"/>
                    <a:pt x="413" y="20621"/>
                  </a:cubicBezTo>
                  <a:cubicBezTo>
                    <a:pt x="1" y="23510"/>
                    <a:pt x="929" y="26399"/>
                    <a:pt x="2993" y="28463"/>
                  </a:cubicBezTo>
                  <a:cubicBezTo>
                    <a:pt x="4128" y="29649"/>
                    <a:pt x="5624" y="30629"/>
                    <a:pt x="6294" y="32125"/>
                  </a:cubicBezTo>
                  <a:cubicBezTo>
                    <a:pt x="7171" y="34034"/>
                    <a:pt x="6449" y="36304"/>
                    <a:pt x="6088" y="38419"/>
                  </a:cubicBezTo>
                  <a:cubicBezTo>
                    <a:pt x="5675" y="40534"/>
                    <a:pt x="5933" y="43165"/>
                    <a:pt x="7842" y="44145"/>
                  </a:cubicBezTo>
                  <a:cubicBezTo>
                    <a:pt x="8275" y="44362"/>
                    <a:pt x="8719" y="44460"/>
                    <a:pt x="9149" y="44460"/>
                  </a:cubicBezTo>
                  <a:cubicBezTo>
                    <a:pt x="10974" y="44460"/>
                    <a:pt x="12544" y="42693"/>
                    <a:pt x="11917" y="40689"/>
                  </a:cubicBezTo>
                  <a:lnTo>
                    <a:pt x="57212" y="25367"/>
                  </a:lnTo>
                  <a:cubicBezTo>
                    <a:pt x="59172" y="24439"/>
                    <a:pt x="60719" y="22891"/>
                    <a:pt x="61648" y="20931"/>
                  </a:cubicBezTo>
                  <a:cubicBezTo>
                    <a:pt x="64382" y="15462"/>
                    <a:pt x="63454" y="8911"/>
                    <a:pt x="59327" y="4423"/>
                  </a:cubicBezTo>
                  <a:cubicBezTo>
                    <a:pt x="56497" y="1524"/>
                    <a:pt x="52698" y="1"/>
                    <a:pt x="4882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7" name="Google Shape;2327;p46"/>
            <p:cNvSpPr/>
            <p:nvPr/>
          </p:nvSpPr>
          <p:spPr>
            <a:xfrm>
              <a:off x="2357125" y="661875"/>
              <a:ext cx="1194300" cy="2327175"/>
            </a:xfrm>
            <a:custGeom>
              <a:avLst/>
              <a:gdLst/>
              <a:ahLst/>
              <a:cxnLst/>
              <a:rect l="l" t="t" r="r" b="b"/>
              <a:pathLst>
                <a:path w="47772" h="93087" extrusionOk="0">
                  <a:moveTo>
                    <a:pt x="27279" y="0"/>
                  </a:moveTo>
                  <a:cubicBezTo>
                    <a:pt x="18388" y="0"/>
                    <a:pt x="9543" y="2653"/>
                    <a:pt x="1961" y="7864"/>
                  </a:cubicBezTo>
                  <a:lnTo>
                    <a:pt x="1" y="9205"/>
                  </a:lnTo>
                  <a:lnTo>
                    <a:pt x="929" y="77146"/>
                  </a:lnTo>
                  <a:cubicBezTo>
                    <a:pt x="1084" y="85968"/>
                    <a:pt x="8306" y="93087"/>
                    <a:pt x="17128" y="93087"/>
                  </a:cubicBezTo>
                  <a:cubicBezTo>
                    <a:pt x="26156" y="93087"/>
                    <a:pt x="33430" y="85710"/>
                    <a:pt x="33275" y="76682"/>
                  </a:cubicBezTo>
                  <a:lnTo>
                    <a:pt x="33069" y="61257"/>
                  </a:lnTo>
                  <a:cubicBezTo>
                    <a:pt x="33069" y="61257"/>
                    <a:pt x="46069" y="59968"/>
                    <a:pt x="46894" y="47122"/>
                  </a:cubicBezTo>
                  <a:cubicBezTo>
                    <a:pt x="47771" y="34277"/>
                    <a:pt x="47152" y="4665"/>
                    <a:pt x="47152" y="4665"/>
                  </a:cubicBezTo>
                  <a:cubicBezTo>
                    <a:pt x="40860" y="1541"/>
                    <a:pt x="34056" y="0"/>
                    <a:pt x="2727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8" name="Google Shape;2328;p46"/>
            <p:cNvSpPr/>
            <p:nvPr/>
          </p:nvSpPr>
          <p:spPr>
            <a:xfrm>
              <a:off x="3394050" y="1263750"/>
              <a:ext cx="121250" cy="96425"/>
            </a:xfrm>
            <a:custGeom>
              <a:avLst/>
              <a:gdLst/>
              <a:ahLst/>
              <a:cxnLst/>
              <a:rect l="l" t="t" r="r" b="b"/>
              <a:pathLst>
                <a:path w="4850" h="3857" extrusionOk="0">
                  <a:moveTo>
                    <a:pt x="2425" y="0"/>
                  </a:moveTo>
                  <a:cubicBezTo>
                    <a:pt x="2373" y="0"/>
                    <a:pt x="2322" y="13"/>
                    <a:pt x="2270" y="39"/>
                  </a:cubicBezTo>
                  <a:cubicBezTo>
                    <a:pt x="0" y="245"/>
                    <a:pt x="0" y="3547"/>
                    <a:pt x="2270" y="3856"/>
                  </a:cubicBezTo>
                  <a:lnTo>
                    <a:pt x="2580" y="3856"/>
                  </a:lnTo>
                  <a:cubicBezTo>
                    <a:pt x="4850" y="3599"/>
                    <a:pt x="4850" y="297"/>
                    <a:pt x="2580" y="39"/>
                  </a:cubicBezTo>
                  <a:cubicBezTo>
                    <a:pt x="2528" y="13"/>
                    <a:pt x="2477" y="0"/>
                    <a:pt x="242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9" name="Google Shape;2329;p46"/>
            <p:cNvSpPr/>
            <p:nvPr/>
          </p:nvSpPr>
          <p:spPr>
            <a:xfrm>
              <a:off x="3348900" y="1207150"/>
              <a:ext cx="167700" cy="50525"/>
            </a:xfrm>
            <a:custGeom>
              <a:avLst/>
              <a:gdLst/>
              <a:ahLst/>
              <a:cxnLst/>
              <a:rect l="l" t="t" r="r" b="b"/>
              <a:pathLst>
                <a:path w="6708" h="2021" extrusionOk="0">
                  <a:moveTo>
                    <a:pt x="3215" y="0"/>
                  </a:moveTo>
                  <a:cubicBezTo>
                    <a:pt x="2387" y="0"/>
                    <a:pt x="1553" y="235"/>
                    <a:pt x="826" y="704"/>
                  </a:cubicBezTo>
                  <a:cubicBezTo>
                    <a:pt x="207" y="1065"/>
                    <a:pt x="1" y="1478"/>
                    <a:pt x="104" y="1581"/>
                  </a:cubicBezTo>
                  <a:cubicBezTo>
                    <a:pt x="127" y="1604"/>
                    <a:pt x="164" y="1614"/>
                    <a:pt x="213" y="1614"/>
                  </a:cubicBezTo>
                  <a:cubicBezTo>
                    <a:pt x="579" y="1614"/>
                    <a:pt x="1646" y="1056"/>
                    <a:pt x="3090" y="1056"/>
                  </a:cubicBezTo>
                  <a:cubicBezTo>
                    <a:pt x="3193" y="1056"/>
                    <a:pt x="3299" y="1059"/>
                    <a:pt x="3406" y="1065"/>
                  </a:cubicBezTo>
                  <a:cubicBezTo>
                    <a:pt x="5001" y="1159"/>
                    <a:pt x="6127" y="2021"/>
                    <a:pt x="6512" y="2021"/>
                  </a:cubicBezTo>
                  <a:cubicBezTo>
                    <a:pt x="6550" y="2021"/>
                    <a:pt x="6581" y="2012"/>
                    <a:pt x="6604" y="1993"/>
                  </a:cubicBezTo>
                  <a:cubicBezTo>
                    <a:pt x="6707" y="1890"/>
                    <a:pt x="6501" y="1478"/>
                    <a:pt x="5985" y="1013"/>
                  </a:cubicBezTo>
                  <a:cubicBezTo>
                    <a:pt x="5197" y="338"/>
                    <a:pt x="4210" y="0"/>
                    <a:pt x="321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0" name="Google Shape;2330;p46"/>
            <p:cNvSpPr/>
            <p:nvPr/>
          </p:nvSpPr>
          <p:spPr>
            <a:xfrm>
              <a:off x="2914725" y="1259650"/>
              <a:ext cx="120825" cy="93650"/>
            </a:xfrm>
            <a:custGeom>
              <a:avLst/>
              <a:gdLst/>
              <a:ahLst/>
              <a:cxnLst/>
              <a:rect l="l" t="t" r="r" b="b"/>
              <a:pathLst>
                <a:path w="4833" h="3746" extrusionOk="0">
                  <a:moveTo>
                    <a:pt x="2395" y="1"/>
                  </a:moveTo>
                  <a:cubicBezTo>
                    <a:pt x="1808" y="1"/>
                    <a:pt x="1238" y="286"/>
                    <a:pt x="860" y="822"/>
                  </a:cubicBezTo>
                  <a:cubicBezTo>
                    <a:pt x="1" y="2063"/>
                    <a:pt x="952" y="3745"/>
                    <a:pt x="2406" y="3745"/>
                  </a:cubicBezTo>
                  <a:cubicBezTo>
                    <a:pt x="2524" y="3745"/>
                    <a:pt x="2645" y="3734"/>
                    <a:pt x="2768" y="3711"/>
                  </a:cubicBezTo>
                  <a:cubicBezTo>
                    <a:pt x="4368" y="3401"/>
                    <a:pt x="4832" y="1286"/>
                    <a:pt x="3491" y="358"/>
                  </a:cubicBezTo>
                  <a:cubicBezTo>
                    <a:pt x="3149" y="117"/>
                    <a:pt x="2769" y="1"/>
                    <a:pt x="23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1" name="Google Shape;2331;p46"/>
            <p:cNvSpPr/>
            <p:nvPr/>
          </p:nvSpPr>
          <p:spPr>
            <a:xfrm>
              <a:off x="2866575" y="1219300"/>
              <a:ext cx="166375" cy="51275"/>
            </a:xfrm>
            <a:custGeom>
              <a:avLst/>
              <a:gdLst/>
              <a:ahLst/>
              <a:cxnLst/>
              <a:rect l="l" t="t" r="r" b="b"/>
              <a:pathLst>
                <a:path w="6655" h="2051" extrusionOk="0">
                  <a:moveTo>
                    <a:pt x="3153" y="0"/>
                  </a:moveTo>
                  <a:cubicBezTo>
                    <a:pt x="2345" y="0"/>
                    <a:pt x="1534" y="225"/>
                    <a:pt x="825" y="682"/>
                  </a:cubicBezTo>
                  <a:cubicBezTo>
                    <a:pt x="206" y="1095"/>
                    <a:pt x="0" y="1507"/>
                    <a:pt x="103" y="1611"/>
                  </a:cubicBezTo>
                  <a:cubicBezTo>
                    <a:pt x="120" y="1634"/>
                    <a:pt x="153" y="1644"/>
                    <a:pt x="199" y="1644"/>
                  </a:cubicBezTo>
                  <a:cubicBezTo>
                    <a:pt x="540" y="1644"/>
                    <a:pt x="1640" y="1086"/>
                    <a:pt x="3089" y="1086"/>
                  </a:cubicBezTo>
                  <a:cubicBezTo>
                    <a:pt x="3192" y="1086"/>
                    <a:pt x="3298" y="1089"/>
                    <a:pt x="3405" y="1095"/>
                  </a:cubicBezTo>
                  <a:cubicBezTo>
                    <a:pt x="5000" y="1189"/>
                    <a:pt x="6126" y="2051"/>
                    <a:pt x="6472" y="2051"/>
                  </a:cubicBezTo>
                  <a:cubicBezTo>
                    <a:pt x="6506" y="2051"/>
                    <a:pt x="6533" y="2042"/>
                    <a:pt x="6552" y="2023"/>
                  </a:cubicBezTo>
                  <a:cubicBezTo>
                    <a:pt x="6655" y="1920"/>
                    <a:pt x="6500" y="1507"/>
                    <a:pt x="5984" y="1043"/>
                  </a:cubicBezTo>
                  <a:cubicBezTo>
                    <a:pt x="5180" y="354"/>
                    <a:pt x="4168" y="0"/>
                    <a:pt x="315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2" name="Google Shape;2332;p46"/>
            <p:cNvSpPr/>
            <p:nvPr/>
          </p:nvSpPr>
          <p:spPr>
            <a:xfrm>
              <a:off x="3176100" y="1258250"/>
              <a:ext cx="130275" cy="393400"/>
            </a:xfrm>
            <a:custGeom>
              <a:avLst/>
              <a:gdLst/>
              <a:ahLst/>
              <a:cxnLst/>
              <a:rect l="l" t="t" r="r" b="b"/>
              <a:pathLst>
                <a:path w="5211" h="15736" extrusionOk="0">
                  <a:moveTo>
                    <a:pt x="464" y="15426"/>
                  </a:moveTo>
                  <a:lnTo>
                    <a:pt x="464" y="15477"/>
                  </a:lnTo>
                  <a:cubicBezTo>
                    <a:pt x="464" y="15467"/>
                    <a:pt x="469" y="15457"/>
                    <a:pt x="479" y="15447"/>
                  </a:cubicBezTo>
                  <a:lnTo>
                    <a:pt x="479" y="15447"/>
                  </a:lnTo>
                  <a:cubicBezTo>
                    <a:pt x="472" y="15440"/>
                    <a:pt x="467" y="15433"/>
                    <a:pt x="464" y="15426"/>
                  </a:cubicBezTo>
                  <a:close/>
                  <a:moveTo>
                    <a:pt x="315" y="1"/>
                  </a:moveTo>
                  <a:cubicBezTo>
                    <a:pt x="313" y="1"/>
                    <a:pt x="311" y="1"/>
                    <a:pt x="310" y="1"/>
                  </a:cubicBezTo>
                  <a:cubicBezTo>
                    <a:pt x="0" y="104"/>
                    <a:pt x="1135" y="4386"/>
                    <a:pt x="2786" y="9648"/>
                  </a:cubicBezTo>
                  <a:cubicBezTo>
                    <a:pt x="3199" y="10886"/>
                    <a:pt x="3611" y="12124"/>
                    <a:pt x="4024" y="13311"/>
                  </a:cubicBezTo>
                  <a:cubicBezTo>
                    <a:pt x="4230" y="13723"/>
                    <a:pt x="4282" y="14188"/>
                    <a:pt x="4282" y="14652"/>
                  </a:cubicBezTo>
                  <a:cubicBezTo>
                    <a:pt x="4230" y="14910"/>
                    <a:pt x="3869" y="14962"/>
                    <a:pt x="3405" y="15013"/>
                  </a:cubicBezTo>
                  <a:cubicBezTo>
                    <a:pt x="1716" y="15158"/>
                    <a:pt x="614" y="15303"/>
                    <a:pt x="479" y="15447"/>
                  </a:cubicBezTo>
                  <a:lnTo>
                    <a:pt x="479" y="15447"/>
                  </a:lnTo>
                  <a:cubicBezTo>
                    <a:pt x="620" y="15590"/>
                    <a:pt x="1684" y="15686"/>
                    <a:pt x="3405" y="15735"/>
                  </a:cubicBezTo>
                  <a:cubicBezTo>
                    <a:pt x="3663" y="15735"/>
                    <a:pt x="3921" y="15684"/>
                    <a:pt x="4179" y="15632"/>
                  </a:cubicBezTo>
                  <a:cubicBezTo>
                    <a:pt x="4591" y="15581"/>
                    <a:pt x="4901" y="15323"/>
                    <a:pt x="5056" y="14962"/>
                  </a:cubicBezTo>
                  <a:cubicBezTo>
                    <a:pt x="5210" y="14291"/>
                    <a:pt x="5159" y="13620"/>
                    <a:pt x="4901" y="13001"/>
                  </a:cubicBezTo>
                  <a:cubicBezTo>
                    <a:pt x="4540" y="11815"/>
                    <a:pt x="4127" y="10577"/>
                    <a:pt x="3766" y="9338"/>
                  </a:cubicBezTo>
                  <a:cubicBezTo>
                    <a:pt x="2125" y="4109"/>
                    <a:pt x="587" y="1"/>
                    <a:pt x="31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3" name="Google Shape;2333;p46"/>
            <p:cNvSpPr/>
            <p:nvPr/>
          </p:nvSpPr>
          <p:spPr>
            <a:xfrm>
              <a:off x="3014875" y="1685150"/>
              <a:ext cx="241200" cy="126675"/>
            </a:xfrm>
            <a:custGeom>
              <a:avLst/>
              <a:gdLst/>
              <a:ahLst/>
              <a:cxnLst/>
              <a:rect l="l" t="t" r="r" b="b"/>
              <a:pathLst>
                <a:path w="9648" h="5067" extrusionOk="0">
                  <a:moveTo>
                    <a:pt x="1084" y="1"/>
                  </a:moveTo>
                  <a:cubicBezTo>
                    <a:pt x="1084" y="1"/>
                    <a:pt x="1" y="3044"/>
                    <a:pt x="3767" y="4644"/>
                  </a:cubicBezTo>
                  <a:cubicBezTo>
                    <a:pt x="4470" y="4945"/>
                    <a:pt x="5123" y="5066"/>
                    <a:pt x="5717" y="5066"/>
                  </a:cubicBezTo>
                  <a:cubicBezTo>
                    <a:pt x="8176" y="5066"/>
                    <a:pt x="9648" y="2993"/>
                    <a:pt x="9648" y="2993"/>
                  </a:cubicBezTo>
                  <a:cubicBezTo>
                    <a:pt x="6655" y="2425"/>
                    <a:pt x="3767" y="1393"/>
                    <a:pt x="1084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4" name="Google Shape;2334;p46"/>
            <p:cNvSpPr/>
            <p:nvPr/>
          </p:nvSpPr>
          <p:spPr>
            <a:xfrm>
              <a:off x="2772425" y="2046275"/>
              <a:ext cx="412725" cy="226125"/>
            </a:xfrm>
            <a:custGeom>
              <a:avLst/>
              <a:gdLst/>
              <a:ahLst/>
              <a:cxnLst/>
              <a:rect l="l" t="t" r="r" b="b"/>
              <a:pathLst>
                <a:path w="16509" h="9045" extrusionOk="0">
                  <a:moveTo>
                    <a:pt x="0" y="0"/>
                  </a:moveTo>
                  <a:lnTo>
                    <a:pt x="0" y="0"/>
                  </a:lnTo>
                  <a:cubicBezTo>
                    <a:pt x="0" y="1"/>
                    <a:pt x="3294" y="9045"/>
                    <a:pt x="15446" y="9045"/>
                  </a:cubicBezTo>
                  <a:cubicBezTo>
                    <a:pt x="15743" y="9045"/>
                    <a:pt x="16046" y="9039"/>
                    <a:pt x="16353" y="9028"/>
                  </a:cubicBezTo>
                  <a:lnTo>
                    <a:pt x="16508" y="5675"/>
                  </a:lnTo>
                  <a:lnTo>
                    <a:pt x="16508" y="5675"/>
                  </a:lnTo>
                  <a:cubicBezTo>
                    <a:pt x="16508" y="5675"/>
                    <a:pt x="16456" y="5677"/>
                    <a:pt x="16356" y="5677"/>
                  </a:cubicBezTo>
                  <a:cubicBezTo>
                    <a:pt x="15203" y="5677"/>
                    <a:pt x="7689" y="5458"/>
                    <a:pt x="0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5" name="Google Shape;2335;p46"/>
            <p:cNvSpPr/>
            <p:nvPr/>
          </p:nvSpPr>
          <p:spPr>
            <a:xfrm>
              <a:off x="2223000" y="577300"/>
              <a:ext cx="1324550" cy="755975"/>
            </a:xfrm>
            <a:custGeom>
              <a:avLst/>
              <a:gdLst/>
              <a:ahLst/>
              <a:cxnLst/>
              <a:rect l="l" t="t" r="r" b="b"/>
              <a:pathLst>
                <a:path w="52982" h="30239" extrusionOk="0">
                  <a:moveTo>
                    <a:pt x="29509" y="1"/>
                  </a:moveTo>
                  <a:lnTo>
                    <a:pt x="15580" y="2941"/>
                  </a:lnTo>
                  <a:lnTo>
                    <a:pt x="2890" y="9441"/>
                  </a:lnTo>
                  <a:cubicBezTo>
                    <a:pt x="2890" y="9441"/>
                    <a:pt x="1" y="29870"/>
                    <a:pt x="5263" y="30231"/>
                  </a:cubicBezTo>
                  <a:cubicBezTo>
                    <a:pt x="5333" y="30236"/>
                    <a:pt x="5403" y="30238"/>
                    <a:pt x="5471" y="30238"/>
                  </a:cubicBezTo>
                  <a:cubicBezTo>
                    <a:pt x="10455" y="30238"/>
                    <a:pt x="9802" y="17437"/>
                    <a:pt x="9802" y="17437"/>
                  </a:cubicBezTo>
                  <a:cubicBezTo>
                    <a:pt x="16354" y="15322"/>
                    <a:pt x="16612" y="8409"/>
                    <a:pt x="18314" y="7017"/>
                  </a:cubicBezTo>
                  <a:cubicBezTo>
                    <a:pt x="18730" y="6679"/>
                    <a:pt x="19539" y="6518"/>
                    <a:pt x="20624" y="6518"/>
                  </a:cubicBezTo>
                  <a:cubicBezTo>
                    <a:pt x="23847" y="6518"/>
                    <a:pt x="29509" y="7938"/>
                    <a:pt x="34565" y="10370"/>
                  </a:cubicBezTo>
                  <a:cubicBezTo>
                    <a:pt x="38487" y="12223"/>
                    <a:pt x="42041" y="12795"/>
                    <a:pt x="44935" y="12795"/>
                  </a:cubicBezTo>
                  <a:cubicBezTo>
                    <a:pt x="49614" y="12795"/>
                    <a:pt x="52569" y="11298"/>
                    <a:pt x="52569" y="11298"/>
                  </a:cubicBezTo>
                  <a:lnTo>
                    <a:pt x="52981" y="4231"/>
                  </a:lnTo>
                  <a:lnTo>
                    <a:pt x="42715" y="1600"/>
                  </a:lnTo>
                  <a:lnTo>
                    <a:pt x="29509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6" name="Google Shape;2336;p46"/>
            <p:cNvSpPr/>
            <p:nvPr/>
          </p:nvSpPr>
          <p:spPr>
            <a:xfrm>
              <a:off x="2152325" y="1212950"/>
              <a:ext cx="225475" cy="337275"/>
            </a:xfrm>
            <a:custGeom>
              <a:avLst/>
              <a:gdLst/>
              <a:ahLst/>
              <a:cxnLst/>
              <a:rect l="l" t="t" r="r" b="b"/>
              <a:pathLst>
                <a:path w="9019" h="13491" extrusionOk="0">
                  <a:moveTo>
                    <a:pt x="5721" y="1"/>
                  </a:moveTo>
                  <a:cubicBezTo>
                    <a:pt x="3247" y="1"/>
                    <a:pt x="267" y="1088"/>
                    <a:pt x="145" y="6250"/>
                  </a:cubicBezTo>
                  <a:cubicBezTo>
                    <a:pt x="1" y="12416"/>
                    <a:pt x="4294" y="13491"/>
                    <a:pt x="6908" y="13491"/>
                  </a:cubicBezTo>
                  <a:cubicBezTo>
                    <a:pt x="8033" y="13491"/>
                    <a:pt x="8848" y="13292"/>
                    <a:pt x="8863" y="13214"/>
                  </a:cubicBezTo>
                  <a:cubicBezTo>
                    <a:pt x="8863" y="12956"/>
                    <a:pt x="9018" y="575"/>
                    <a:pt x="9018" y="575"/>
                  </a:cubicBezTo>
                  <a:cubicBezTo>
                    <a:pt x="8933" y="532"/>
                    <a:pt x="7451" y="1"/>
                    <a:pt x="5721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7" name="Google Shape;2337;p46"/>
            <p:cNvSpPr/>
            <p:nvPr/>
          </p:nvSpPr>
          <p:spPr>
            <a:xfrm>
              <a:off x="2211400" y="1282775"/>
              <a:ext cx="98050" cy="193000"/>
            </a:xfrm>
            <a:custGeom>
              <a:avLst/>
              <a:gdLst/>
              <a:ahLst/>
              <a:cxnLst/>
              <a:rect l="l" t="t" r="r" b="b"/>
              <a:pathLst>
                <a:path w="3922" h="7720" extrusionOk="0">
                  <a:moveTo>
                    <a:pt x="2219" y="0"/>
                  </a:moveTo>
                  <a:cubicBezTo>
                    <a:pt x="1496" y="155"/>
                    <a:pt x="877" y="671"/>
                    <a:pt x="619" y="1341"/>
                  </a:cubicBezTo>
                  <a:cubicBezTo>
                    <a:pt x="207" y="2115"/>
                    <a:pt x="0" y="2941"/>
                    <a:pt x="0" y="3818"/>
                  </a:cubicBezTo>
                  <a:cubicBezTo>
                    <a:pt x="52" y="5572"/>
                    <a:pt x="929" y="7222"/>
                    <a:pt x="2167" y="7635"/>
                  </a:cubicBezTo>
                  <a:cubicBezTo>
                    <a:pt x="2334" y="7691"/>
                    <a:pt x="2507" y="7720"/>
                    <a:pt x="2680" y="7720"/>
                  </a:cubicBezTo>
                  <a:cubicBezTo>
                    <a:pt x="2988" y="7720"/>
                    <a:pt x="3295" y="7627"/>
                    <a:pt x="3560" y="7429"/>
                  </a:cubicBezTo>
                  <a:cubicBezTo>
                    <a:pt x="3869" y="7222"/>
                    <a:pt x="3921" y="7016"/>
                    <a:pt x="3869" y="7016"/>
                  </a:cubicBezTo>
                  <a:cubicBezTo>
                    <a:pt x="3862" y="7009"/>
                    <a:pt x="3854" y="7006"/>
                    <a:pt x="3845" y="7006"/>
                  </a:cubicBezTo>
                  <a:cubicBezTo>
                    <a:pt x="3787" y="7006"/>
                    <a:pt x="3679" y="7133"/>
                    <a:pt x="3457" y="7222"/>
                  </a:cubicBezTo>
                  <a:cubicBezTo>
                    <a:pt x="3276" y="7300"/>
                    <a:pt x="3083" y="7339"/>
                    <a:pt x="2889" y="7339"/>
                  </a:cubicBezTo>
                  <a:cubicBezTo>
                    <a:pt x="2696" y="7339"/>
                    <a:pt x="2502" y="7300"/>
                    <a:pt x="2322" y="7222"/>
                  </a:cubicBezTo>
                  <a:cubicBezTo>
                    <a:pt x="1393" y="6861"/>
                    <a:pt x="619" y="5365"/>
                    <a:pt x="619" y="3818"/>
                  </a:cubicBezTo>
                  <a:cubicBezTo>
                    <a:pt x="619" y="3044"/>
                    <a:pt x="774" y="2270"/>
                    <a:pt x="1135" y="1599"/>
                  </a:cubicBezTo>
                  <a:cubicBezTo>
                    <a:pt x="1290" y="1032"/>
                    <a:pt x="1754" y="619"/>
                    <a:pt x="2270" y="464"/>
                  </a:cubicBezTo>
                  <a:cubicBezTo>
                    <a:pt x="2334" y="446"/>
                    <a:pt x="2400" y="438"/>
                    <a:pt x="2465" y="438"/>
                  </a:cubicBezTo>
                  <a:cubicBezTo>
                    <a:pt x="2769" y="438"/>
                    <a:pt x="3071" y="622"/>
                    <a:pt x="3199" y="877"/>
                  </a:cubicBezTo>
                  <a:cubicBezTo>
                    <a:pt x="3302" y="1135"/>
                    <a:pt x="3250" y="1341"/>
                    <a:pt x="3302" y="1341"/>
                  </a:cubicBezTo>
                  <a:cubicBezTo>
                    <a:pt x="3302" y="1341"/>
                    <a:pt x="3457" y="1187"/>
                    <a:pt x="3405" y="826"/>
                  </a:cubicBezTo>
                  <a:cubicBezTo>
                    <a:pt x="3354" y="619"/>
                    <a:pt x="3250" y="413"/>
                    <a:pt x="3096" y="258"/>
                  </a:cubicBezTo>
                  <a:cubicBezTo>
                    <a:pt x="2838" y="103"/>
                    <a:pt x="2528" y="0"/>
                    <a:pt x="2219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8" name="Google Shape;2338;p46"/>
            <p:cNvSpPr/>
            <p:nvPr/>
          </p:nvSpPr>
          <p:spPr>
            <a:xfrm>
              <a:off x="2265575" y="532850"/>
              <a:ext cx="139300" cy="56275"/>
            </a:xfrm>
            <a:custGeom>
              <a:avLst/>
              <a:gdLst/>
              <a:ahLst/>
              <a:cxnLst/>
              <a:rect l="l" t="t" r="r" b="b"/>
              <a:pathLst>
                <a:path w="5572" h="2251" extrusionOk="0">
                  <a:moveTo>
                    <a:pt x="1260" y="1"/>
                  </a:moveTo>
                  <a:cubicBezTo>
                    <a:pt x="506" y="1"/>
                    <a:pt x="0" y="170"/>
                    <a:pt x="0" y="231"/>
                  </a:cubicBezTo>
                  <a:cubicBezTo>
                    <a:pt x="52" y="334"/>
                    <a:pt x="1393" y="179"/>
                    <a:pt x="2941" y="747"/>
                  </a:cubicBezTo>
                  <a:cubicBezTo>
                    <a:pt x="4366" y="1288"/>
                    <a:pt x="5277" y="2250"/>
                    <a:pt x="5448" y="2250"/>
                  </a:cubicBezTo>
                  <a:cubicBezTo>
                    <a:pt x="5457" y="2250"/>
                    <a:pt x="5464" y="2248"/>
                    <a:pt x="5468" y="2243"/>
                  </a:cubicBezTo>
                  <a:cubicBezTo>
                    <a:pt x="5572" y="2191"/>
                    <a:pt x="4746" y="953"/>
                    <a:pt x="3095" y="334"/>
                  </a:cubicBezTo>
                  <a:cubicBezTo>
                    <a:pt x="2421" y="81"/>
                    <a:pt x="1781" y="1"/>
                    <a:pt x="1260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9" name="Google Shape;2339;p46"/>
            <p:cNvSpPr/>
            <p:nvPr/>
          </p:nvSpPr>
          <p:spPr>
            <a:xfrm>
              <a:off x="2386800" y="407075"/>
              <a:ext cx="50325" cy="197325"/>
            </a:xfrm>
            <a:custGeom>
              <a:avLst/>
              <a:gdLst/>
              <a:ahLst/>
              <a:cxnLst/>
              <a:rect l="l" t="t" r="r" b="b"/>
              <a:pathLst>
                <a:path w="2013" h="7893" extrusionOk="0">
                  <a:moveTo>
                    <a:pt x="465" y="0"/>
                  </a:moveTo>
                  <a:cubicBezTo>
                    <a:pt x="104" y="1341"/>
                    <a:pt x="0" y="2734"/>
                    <a:pt x="258" y="4127"/>
                  </a:cubicBezTo>
                  <a:cubicBezTo>
                    <a:pt x="413" y="5107"/>
                    <a:pt x="723" y="6036"/>
                    <a:pt x="1187" y="6913"/>
                  </a:cubicBezTo>
                  <a:cubicBezTo>
                    <a:pt x="1548" y="7583"/>
                    <a:pt x="1857" y="7893"/>
                    <a:pt x="1909" y="7893"/>
                  </a:cubicBezTo>
                  <a:cubicBezTo>
                    <a:pt x="2012" y="7790"/>
                    <a:pt x="981" y="6242"/>
                    <a:pt x="671" y="4024"/>
                  </a:cubicBezTo>
                  <a:cubicBezTo>
                    <a:pt x="361" y="1857"/>
                    <a:pt x="619" y="0"/>
                    <a:pt x="465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0" name="Google Shape;2340;p46"/>
            <p:cNvSpPr/>
            <p:nvPr/>
          </p:nvSpPr>
          <p:spPr>
            <a:xfrm>
              <a:off x="3301200" y="1121075"/>
              <a:ext cx="201200" cy="33800"/>
            </a:xfrm>
            <a:custGeom>
              <a:avLst/>
              <a:gdLst/>
              <a:ahLst/>
              <a:cxnLst/>
              <a:rect l="l" t="t" r="r" b="b"/>
              <a:pathLst>
                <a:path w="8048" h="1352" extrusionOk="0">
                  <a:moveTo>
                    <a:pt x="3992" y="0"/>
                  </a:moveTo>
                  <a:cubicBezTo>
                    <a:pt x="3009" y="0"/>
                    <a:pt x="2021" y="181"/>
                    <a:pt x="1083" y="536"/>
                  </a:cubicBezTo>
                  <a:cubicBezTo>
                    <a:pt x="361" y="794"/>
                    <a:pt x="0" y="1103"/>
                    <a:pt x="52" y="1206"/>
                  </a:cubicBezTo>
                  <a:cubicBezTo>
                    <a:pt x="69" y="1251"/>
                    <a:pt x="135" y="1269"/>
                    <a:pt x="242" y="1269"/>
                  </a:cubicBezTo>
                  <a:cubicBezTo>
                    <a:pt x="756" y="1269"/>
                    <a:pt x="2231" y="845"/>
                    <a:pt x="4024" y="845"/>
                  </a:cubicBezTo>
                  <a:cubicBezTo>
                    <a:pt x="5883" y="889"/>
                    <a:pt x="7400" y="1351"/>
                    <a:pt x="7859" y="1351"/>
                  </a:cubicBezTo>
                  <a:cubicBezTo>
                    <a:pt x="7935" y="1351"/>
                    <a:pt x="7982" y="1339"/>
                    <a:pt x="7996" y="1309"/>
                  </a:cubicBezTo>
                  <a:cubicBezTo>
                    <a:pt x="8048" y="1206"/>
                    <a:pt x="7687" y="897"/>
                    <a:pt x="6964" y="587"/>
                  </a:cubicBezTo>
                  <a:cubicBezTo>
                    <a:pt x="6020" y="194"/>
                    <a:pt x="5009" y="0"/>
                    <a:pt x="399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1" name="Google Shape;2341;p46"/>
            <p:cNvSpPr/>
            <p:nvPr/>
          </p:nvSpPr>
          <p:spPr>
            <a:xfrm>
              <a:off x="2811100" y="1074650"/>
              <a:ext cx="201225" cy="33800"/>
            </a:xfrm>
            <a:custGeom>
              <a:avLst/>
              <a:gdLst/>
              <a:ahLst/>
              <a:cxnLst/>
              <a:rect l="l" t="t" r="r" b="b"/>
              <a:pathLst>
                <a:path w="8049" h="1352" extrusionOk="0">
                  <a:moveTo>
                    <a:pt x="3973" y="0"/>
                  </a:moveTo>
                  <a:cubicBezTo>
                    <a:pt x="2997" y="0"/>
                    <a:pt x="2022" y="181"/>
                    <a:pt x="1084" y="535"/>
                  </a:cubicBezTo>
                  <a:cubicBezTo>
                    <a:pt x="362" y="845"/>
                    <a:pt x="1" y="1103"/>
                    <a:pt x="52" y="1206"/>
                  </a:cubicBezTo>
                  <a:cubicBezTo>
                    <a:pt x="70" y="1251"/>
                    <a:pt x="136" y="1269"/>
                    <a:pt x="245" y="1269"/>
                  </a:cubicBezTo>
                  <a:cubicBezTo>
                    <a:pt x="736" y="1269"/>
                    <a:pt x="2093" y="893"/>
                    <a:pt x="3765" y="893"/>
                  </a:cubicBezTo>
                  <a:cubicBezTo>
                    <a:pt x="3851" y="893"/>
                    <a:pt x="3937" y="894"/>
                    <a:pt x="4025" y="897"/>
                  </a:cubicBezTo>
                  <a:cubicBezTo>
                    <a:pt x="5882" y="897"/>
                    <a:pt x="7398" y="1351"/>
                    <a:pt x="7858" y="1351"/>
                  </a:cubicBezTo>
                  <a:cubicBezTo>
                    <a:pt x="7935" y="1351"/>
                    <a:pt x="7982" y="1339"/>
                    <a:pt x="7997" y="1309"/>
                  </a:cubicBezTo>
                  <a:cubicBezTo>
                    <a:pt x="8048" y="1206"/>
                    <a:pt x="7687" y="897"/>
                    <a:pt x="6965" y="587"/>
                  </a:cubicBezTo>
                  <a:cubicBezTo>
                    <a:pt x="5994" y="193"/>
                    <a:pt x="4983" y="0"/>
                    <a:pt x="397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2" name="Google Shape;2342;p46"/>
            <p:cNvSpPr/>
            <p:nvPr/>
          </p:nvSpPr>
          <p:spPr>
            <a:xfrm>
              <a:off x="3259925" y="1180875"/>
              <a:ext cx="392075" cy="316475"/>
            </a:xfrm>
            <a:custGeom>
              <a:avLst/>
              <a:gdLst/>
              <a:ahLst/>
              <a:cxnLst/>
              <a:rect l="l" t="t" r="r" b="b"/>
              <a:pathLst>
                <a:path w="15683" h="12659" extrusionOk="0">
                  <a:moveTo>
                    <a:pt x="15373" y="1"/>
                  </a:moveTo>
                  <a:lnTo>
                    <a:pt x="4385" y="104"/>
                  </a:lnTo>
                  <a:lnTo>
                    <a:pt x="1238" y="156"/>
                  </a:lnTo>
                  <a:cubicBezTo>
                    <a:pt x="877" y="156"/>
                    <a:pt x="516" y="156"/>
                    <a:pt x="207" y="207"/>
                  </a:cubicBezTo>
                  <a:cubicBezTo>
                    <a:pt x="310" y="207"/>
                    <a:pt x="413" y="259"/>
                    <a:pt x="516" y="259"/>
                  </a:cubicBezTo>
                  <a:lnTo>
                    <a:pt x="1342" y="259"/>
                  </a:lnTo>
                  <a:lnTo>
                    <a:pt x="4488" y="310"/>
                  </a:lnTo>
                  <a:lnTo>
                    <a:pt x="15212" y="412"/>
                  </a:lnTo>
                  <a:lnTo>
                    <a:pt x="15212" y="412"/>
                  </a:lnTo>
                  <a:cubicBezTo>
                    <a:pt x="15167" y="1741"/>
                    <a:pt x="15167" y="3118"/>
                    <a:pt x="15167" y="4540"/>
                  </a:cubicBezTo>
                  <a:cubicBezTo>
                    <a:pt x="15219" y="6088"/>
                    <a:pt x="14806" y="7584"/>
                    <a:pt x="13981" y="8822"/>
                  </a:cubicBezTo>
                  <a:cubicBezTo>
                    <a:pt x="13155" y="10164"/>
                    <a:pt x="11865" y="11195"/>
                    <a:pt x="10369" y="11763"/>
                  </a:cubicBezTo>
                  <a:cubicBezTo>
                    <a:pt x="9699" y="12021"/>
                    <a:pt x="8925" y="12175"/>
                    <a:pt x="8203" y="12227"/>
                  </a:cubicBezTo>
                  <a:cubicBezTo>
                    <a:pt x="8032" y="12239"/>
                    <a:pt x="7862" y="12246"/>
                    <a:pt x="7691" y="12246"/>
                  </a:cubicBezTo>
                  <a:cubicBezTo>
                    <a:pt x="7140" y="12246"/>
                    <a:pt x="6588" y="12178"/>
                    <a:pt x="6036" y="12021"/>
                  </a:cubicBezTo>
                  <a:cubicBezTo>
                    <a:pt x="4746" y="11711"/>
                    <a:pt x="3560" y="11092"/>
                    <a:pt x="2580" y="10164"/>
                  </a:cubicBezTo>
                  <a:cubicBezTo>
                    <a:pt x="1754" y="9338"/>
                    <a:pt x="1084" y="8306"/>
                    <a:pt x="723" y="7223"/>
                  </a:cubicBezTo>
                  <a:cubicBezTo>
                    <a:pt x="413" y="6294"/>
                    <a:pt x="258" y="5314"/>
                    <a:pt x="310" y="4334"/>
                  </a:cubicBezTo>
                  <a:cubicBezTo>
                    <a:pt x="258" y="3509"/>
                    <a:pt x="258" y="2786"/>
                    <a:pt x="258" y="2167"/>
                  </a:cubicBezTo>
                  <a:cubicBezTo>
                    <a:pt x="258" y="1600"/>
                    <a:pt x="207" y="1084"/>
                    <a:pt x="207" y="723"/>
                  </a:cubicBezTo>
                  <a:cubicBezTo>
                    <a:pt x="207" y="568"/>
                    <a:pt x="207" y="362"/>
                    <a:pt x="155" y="207"/>
                  </a:cubicBezTo>
                  <a:cubicBezTo>
                    <a:pt x="155" y="362"/>
                    <a:pt x="155" y="517"/>
                    <a:pt x="155" y="671"/>
                  </a:cubicBezTo>
                  <a:cubicBezTo>
                    <a:pt x="155" y="1033"/>
                    <a:pt x="103" y="1497"/>
                    <a:pt x="103" y="2064"/>
                  </a:cubicBezTo>
                  <a:cubicBezTo>
                    <a:pt x="103" y="2735"/>
                    <a:pt x="52" y="3457"/>
                    <a:pt x="52" y="4334"/>
                  </a:cubicBezTo>
                  <a:cubicBezTo>
                    <a:pt x="0" y="5314"/>
                    <a:pt x="103" y="6346"/>
                    <a:pt x="413" y="7326"/>
                  </a:cubicBezTo>
                  <a:cubicBezTo>
                    <a:pt x="826" y="8461"/>
                    <a:pt x="1445" y="9545"/>
                    <a:pt x="2322" y="10370"/>
                  </a:cubicBezTo>
                  <a:cubicBezTo>
                    <a:pt x="3302" y="11402"/>
                    <a:pt x="4592" y="12072"/>
                    <a:pt x="5933" y="12433"/>
                  </a:cubicBezTo>
                  <a:cubicBezTo>
                    <a:pt x="6524" y="12591"/>
                    <a:pt x="7085" y="12658"/>
                    <a:pt x="7662" y="12658"/>
                  </a:cubicBezTo>
                  <a:cubicBezTo>
                    <a:pt x="7840" y="12658"/>
                    <a:pt x="8020" y="12652"/>
                    <a:pt x="8203" y="12640"/>
                  </a:cubicBezTo>
                  <a:cubicBezTo>
                    <a:pt x="9028" y="12640"/>
                    <a:pt x="9802" y="12433"/>
                    <a:pt x="10524" y="12175"/>
                  </a:cubicBezTo>
                  <a:cubicBezTo>
                    <a:pt x="12123" y="11556"/>
                    <a:pt x="13465" y="10473"/>
                    <a:pt x="14393" y="9080"/>
                  </a:cubicBezTo>
                  <a:cubicBezTo>
                    <a:pt x="15219" y="7739"/>
                    <a:pt x="15683" y="6140"/>
                    <a:pt x="15631" y="4540"/>
                  </a:cubicBezTo>
                  <a:cubicBezTo>
                    <a:pt x="15631" y="3044"/>
                    <a:pt x="15580" y="1600"/>
                    <a:pt x="15580" y="207"/>
                  </a:cubicBezTo>
                  <a:lnTo>
                    <a:pt x="15580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3" name="Google Shape;2343;p46"/>
            <p:cNvSpPr/>
            <p:nvPr/>
          </p:nvSpPr>
          <p:spPr>
            <a:xfrm>
              <a:off x="2745325" y="1170575"/>
              <a:ext cx="392100" cy="316325"/>
            </a:xfrm>
            <a:custGeom>
              <a:avLst/>
              <a:gdLst/>
              <a:ahLst/>
              <a:cxnLst/>
              <a:rect l="l" t="t" r="r" b="b"/>
              <a:pathLst>
                <a:path w="15684" h="12653" extrusionOk="0">
                  <a:moveTo>
                    <a:pt x="15426" y="0"/>
                  </a:moveTo>
                  <a:lnTo>
                    <a:pt x="4386" y="103"/>
                  </a:lnTo>
                  <a:lnTo>
                    <a:pt x="1290" y="155"/>
                  </a:lnTo>
                  <a:cubicBezTo>
                    <a:pt x="929" y="155"/>
                    <a:pt x="568" y="155"/>
                    <a:pt x="207" y="206"/>
                  </a:cubicBezTo>
                  <a:lnTo>
                    <a:pt x="517" y="206"/>
                  </a:lnTo>
                  <a:lnTo>
                    <a:pt x="1342" y="258"/>
                  </a:lnTo>
                  <a:lnTo>
                    <a:pt x="4540" y="310"/>
                  </a:lnTo>
                  <a:lnTo>
                    <a:pt x="15219" y="411"/>
                  </a:lnTo>
                  <a:lnTo>
                    <a:pt x="15219" y="411"/>
                  </a:lnTo>
                  <a:cubicBezTo>
                    <a:pt x="15219" y="1699"/>
                    <a:pt x="15219" y="3119"/>
                    <a:pt x="15219" y="4540"/>
                  </a:cubicBezTo>
                  <a:cubicBezTo>
                    <a:pt x="15219" y="6036"/>
                    <a:pt x="14858" y="7532"/>
                    <a:pt x="14033" y="8822"/>
                  </a:cubicBezTo>
                  <a:cubicBezTo>
                    <a:pt x="13156" y="10163"/>
                    <a:pt x="11866" y="11195"/>
                    <a:pt x="10421" y="11762"/>
                  </a:cubicBezTo>
                  <a:cubicBezTo>
                    <a:pt x="9699" y="12020"/>
                    <a:pt x="8977" y="12175"/>
                    <a:pt x="8203" y="12226"/>
                  </a:cubicBezTo>
                  <a:cubicBezTo>
                    <a:pt x="8075" y="12236"/>
                    <a:pt x="7947" y="12240"/>
                    <a:pt x="7819" y="12240"/>
                  </a:cubicBezTo>
                  <a:cubicBezTo>
                    <a:pt x="7225" y="12240"/>
                    <a:pt x="6631" y="12147"/>
                    <a:pt x="6037" y="12020"/>
                  </a:cubicBezTo>
                  <a:cubicBezTo>
                    <a:pt x="4747" y="11710"/>
                    <a:pt x="3560" y="11040"/>
                    <a:pt x="2580" y="10111"/>
                  </a:cubicBezTo>
                  <a:cubicBezTo>
                    <a:pt x="1755" y="9286"/>
                    <a:pt x="1136" y="8306"/>
                    <a:pt x="723" y="7171"/>
                  </a:cubicBezTo>
                  <a:cubicBezTo>
                    <a:pt x="413" y="6242"/>
                    <a:pt x="310" y="5314"/>
                    <a:pt x="310" y="4333"/>
                  </a:cubicBezTo>
                  <a:cubicBezTo>
                    <a:pt x="310" y="3508"/>
                    <a:pt x="259" y="2734"/>
                    <a:pt x="259" y="2115"/>
                  </a:cubicBezTo>
                  <a:cubicBezTo>
                    <a:pt x="259" y="1548"/>
                    <a:pt x="259" y="1083"/>
                    <a:pt x="207" y="722"/>
                  </a:cubicBezTo>
                  <a:cubicBezTo>
                    <a:pt x="207" y="516"/>
                    <a:pt x="207" y="361"/>
                    <a:pt x="207" y="206"/>
                  </a:cubicBezTo>
                  <a:cubicBezTo>
                    <a:pt x="156" y="361"/>
                    <a:pt x="156" y="516"/>
                    <a:pt x="156" y="671"/>
                  </a:cubicBezTo>
                  <a:cubicBezTo>
                    <a:pt x="156" y="1032"/>
                    <a:pt x="156" y="1496"/>
                    <a:pt x="104" y="2064"/>
                  </a:cubicBezTo>
                  <a:cubicBezTo>
                    <a:pt x="104" y="2683"/>
                    <a:pt x="104" y="3456"/>
                    <a:pt x="52" y="4333"/>
                  </a:cubicBezTo>
                  <a:cubicBezTo>
                    <a:pt x="1" y="5314"/>
                    <a:pt x="156" y="6345"/>
                    <a:pt x="465" y="7274"/>
                  </a:cubicBezTo>
                  <a:cubicBezTo>
                    <a:pt x="826" y="8460"/>
                    <a:pt x="1497" y="9492"/>
                    <a:pt x="2322" y="10369"/>
                  </a:cubicBezTo>
                  <a:cubicBezTo>
                    <a:pt x="3354" y="11349"/>
                    <a:pt x="4592" y="12072"/>
                    <a:pt x="5985" y="12433"/>
                  </a:cubicBezTo>
                  <a:cubicBezTo>
                    <a:pt x="6579" y="12560"/>
                    <a:pt x="7208" y="12652"/>
                    <a:pt x="7815" y="12652"/>
                  </a:cubicBezTo>
                  <a:cubicBezTo>
                    <a:pt x="7946" y="12652"/>
                    <a:pt x="8075" y="12648"/>
                    <a:pt x="8203" y="12639"/>
                  </a:cubicBezTo>
                  <a:cubicBezTo>
                    <a:pt x="9029" y="12587"/>
                    <a:pt x="9802" y="12433"/>
                    <a:pt x="10525" y="12175"/>
                  </a:cubicBezTo>
                  <a:cubicBezTo>
                    <a:pt x="12124" y="11556"/>
                    <a:pt x="13465" y="10472"/>
                    <a:pt x="14394" y="9080"/>
                  </a:cubicBezTo>
                  <a:cubicBezTo>
                    <a:pt x="15271" y="7687"/>
                    <a:pt x="15683" y="6139"/>
                    <a:pt x="15632" y="4540"/>
                  </a:cubicBezTo>
                  <a:cubicBezTo>
                    <a:pt x="15632" y="3044"/>
                    <a:pt x="15632" y="1599"/>
                    <a:pt x="15632" y="206"/>
                  </a:cubicBezTo>
                  <a:lnTo>
                    <a:pt x="15632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46"/>
            <p:cNvSpPr/>
            <p:nvPr/>
          </p:nvSpPr>
          <p:spPr>
            <a:xfrm>
              <a:off x="3124500" y="1196350"/>
              <a:ext cx="144475" cy="10350"/>
            </a:xfrm>
            <a:custGeom>
              <a:avLst/>
              <a:gdLst/>
              <a:ahLst/>
              <a:cxnLst/>
              <a:rect l="l" t="t" r="r" b="b"/>
              <a:pathLst>
                <a:path w="5779" h="414" extrusionOk="0">
                  <a:moveTo>
                    <a:pt x="2889" y="1"/>
                  </a:moveTo>
                  <a:cubicBezTo>
                    <a:pt x="1290" y="1"/>
                    <a:pt x="1" y="104"/>
                    <a:pt x="1" y="207"/>
                  </a:cubicBezTo>
                  <a:cubicBezTo>
                    <a:pt x="1" y="310"/>
                    <a:pt x="1290" y="414"/>
                    <a:pt x="2889" y="414"/>
                  </a:cubicBezTo>
                  <a:cubicBezTo>
                    <a:pt x="4489" y="414"/>
                    <a:pt x="5778" y="310"/>
                    <a:pt x="5778" y="207"/>
                  </a:cubicBezTo>
                  <a:cubicBezTo>
                    <a:pt x="5778" y="104"/>
                    <a:pt x="4489" y="1"/>
                    <a:pt x="288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5" name="Google Shape;2345;p46"/>
            <p:cNvSpPr/>
            <p:nvPr/>
          </p:nvSpPr>
          <p:spPr>
            <a:xfrm>
              <a:off x="2349400" y="1197650"/>
              <a:ext cx="401125" cy="11625"/>
            </a:xfrm>
            <a:custGeom>
              <a:avLst/>
              <a:gdLst/>
              <a:ahLst/>
              <a:cxnLst/>
              <a:rect l="l" t="t" r="r" b="b"/>
              <a:pathLst>
                <a:path w="16045" h="465" extrusionOk="0">
                  <a:moveTo>
                    <a:pt x="7996" y="0"/>
                  </a:moveTo>
                  <a:cubicBezTo>
                    <a:pt x="3560" y="52"/>
                    <a:pt x="0" y="155"/>
                    <a:pt x="0" y="258"/>
                  </a:cubicBezTo>
                  <a:cubicBezTo>
                    <a:pt x="0" y="362"/>
                    <a:pt x="3560" y="465"/>
                    <a:pt x="7996" y="465"/>
                  </a:cubicBezTo>
                  <a:cubicBezTo>
                    <a:pt x="12433" y="465"/>
                    <a:pt x="16044" y="362"/>
                    <a:pt x="16044" y="207"/>
                  </a:cubicBezTo>
                  <a:cubicBezTo>
                    <a:pt x="16044" y="104"/>
                    <a:pt x="12433" y="0"/>
                    <a:pt x="799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6" name="Google Shape;2346;p46"/>
            <p:cNvSpPr/>
            <p:nvPr/>
          </p:nvSpPr>
          <p:spPr>
            <a:xfrm>
              <a:off x="2649900" y="3651950"/>
              <a:ext cx="4503625" cy="1799150"/>
            </a:xfrm>
            <a:custGeom>
              <a:avLst/>
              <a:gdLst/>
              <a:ahLst/>
              <a:cxnLst/>
              <a:rect l="l" t="t" r="r" b="b"/>
              <a:pathLst>
                <a:path w="180145" h="71966" extrusionOk="0">
                  <a:moveTo>
                    <a:pt x="78053" y="0"/>
                  </a:moveTo>
                  <a:lnTo>
                    <a:pt x="50195" y="68870"/>
                  </a:lnTo>
                  <a:lnTo>
                    <a:pt x="0" y="68870"/>
                  </a:lnTo>
                  <a:lnTo>
                    <a:pt x="0" y="71965"/>
                  </a:lnTo>
                  <a:lnTo>
                    <a:pt x="149553" y="71965"/>
                  </a:lnTo>
                  <a:lnTo>
                    <a:pt x="180145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7" name="Google Shape;2347;p46"/>
            <p:cNvSpPr/>
            <p:nvPr/>
          </p:nvSpPr>
          <p:spPr>
            <a:xfrm>
              <a:off x="5403400" y="4473500"/>
              <a:ext cx="287625" cy="321125"/>
            </a:xfrm>
            <a:custGeom>
              <a:avLst/>
              <a:gdLst/>
              <a:ahLst/>
              <a:cxnLst/>
              <a:rect l="l" t="t" r="r" b="b"/>
              <a:pathLst>
                <a:path w="11505" h="12845" extrusionOk="0">
                  <a:moveTo>
                    <a:pt x="6510" y="0"/>
                  </a:moveTo>
                  <a:cubicBezTo>
                    <a:pt x="4197" y="0"/>
                    <a:pt x="1880" y="2064"/>
                    <a:pt x="1032" y="5055"/>
                  </a:cubicBezTo>
                  <a:cubicBezTo>
                    <a:pt x="0" y="8512"/>
                    <a:pt x="1290" y="11916"/>
                    <a:pt x="3921" y="12690"/>
                  </a:cubicBezTo>
                  <a:cubicBezTo>
                    <a:pt x="4275" y="12794"/>
                    <a:pt x="4635" y="12844"/>
                    <a:pt x="4995" y="12844"/>
                  </a:cubicBezTo>
                  <a:cubicBezTo>
                    <a:pt x="7308" y="12844"/>
                    <a:pt x="9624" y="10780"/>
                    <a:pt x="10473" y="7789"/>
                  </a:cubicBezTo>
                  <a:cubicBezTo>
                    <a:pt x="11504" y="4333"/>
                    <a:pt x="10215" y="928"/>
                    <a:pt x="7584" y="154"/>
                  </a:cubicBezTo>
                  <a:cubicBezTo>
                    <a:pt x="7229" y="50"/>
                    <a:pt x="6870" y="0"/>
                    <a:pt x="651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oject research">
  <a:themeElements>
    <a:clrScheme name="Simple Light">
      <a:dk1>
        <a:srgbClr val="E00700"/>
      </a:dk1>
      <a:lt1>
        <a:srgbClr val="FFFFFF"/>
      </a:lt1>
      <a:dk2>
        <a:srgbClr val="263238"/>
      </a:dk2>
      <a:lt2>
        <a:srgbClr val="8A4C48"/>
      </a:lt2>
      <a:accent1>
        <a:srgbClr val="690300"/>
      </a:accent1>
      <a:accent2>
        <a:srgbClr val="FF5E59"/>
      </a:accent2>
      <a:accent3>
        <a:srgbClr val="B78876"/>
      </a:accent3>
      <a:accent4>
        <a:srgbClr val="FFBE9D"/>
      </a:accent4>
      <a:accent5>
        <a:srgbClr val="EBEBEB"/>
      </a:accent5>
      <a:accent6>
        <a:srgbClr val="E0E0E0"/>
      </a:accent6>
      <a:hlink>
        <a:srgbClr val="E007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2</TotalTime>
  <Words>268</Words>
  <Application>Microsoft Office PowerPoint</Application>
  <PresentationFormat>On-screen Show (16:9)</PresentationFormat>
  <Paragraphs>90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Calibri</vt:lpstr>
      <vt:lpstr>Arial</vt:lpstr>
      <vt:lpstr>Lilita One</vt:lpstr>
      <vt:lpstr>Josefin Sans</vt:lpstr>
      <vt:lpstr>Project research</vt:lpstr>
      <vt:lpstr>think-cell Slide</vt:lpstr>
      <vt:lpstr>Brand Expansion Ab-Inbev</vt:lpstr>
      <vt:lpstr>Brand Expansion</vt:lpstr>
      <vt:lpstr>Metodología</vt:lpstr>
      <vt:lpstr>Lógica de modelamiento</vt:lpstr>
      <vt:lpstr>Pipeline</vt:lpstr>
      <vt:lpstr>Resultado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and Expansion Ab-Inbev</dc:title>
  <cp:lastModifiedBy>Herrera, Juan S</cp:lastModifiedBy>
  <cp:revision>8</cp:revision>
  <dcterms:modified xsi:type="dcterms:W3CDTF">2020-11-29T16:48:58Z</dcterms:modified>
</cp:coreProperties>
</file>